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626.xml" ContentType="application/vnd.openxmlformats-officedocument.presentationml.tags+xml"/>
  <Override PartName="/ppt/theme/theme3.xml" ContentType="application/vnd.openxmlformats-officedocument.theme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heme/theme4.xml" ContentType="application/vnd.openxmlformats-officedocument.theme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18" r:id="rId5"/>
  </p:sldMasterIdLst>
  <p:notesMasterIdLst>
    <p:notesMasterId r:id="rId7"/>
  </p:notesMasterIdLst>
  <p:handoutMasterIdLst>
    <p:handoutMasterId r:id="rId8"/>
  </p:handoutMasterIdLst>
  <p:sldIdLst>
    <p:sldId id="286" r:id="rId6"/>
  </p:sldIdLst>
  <p:sldSz cx="12192000" cy="6858000"/>
  <p:notesSz cx="6858000" cy="9144000"/>
  <p:embeddedFontLst>
    <p:embeddedFont>
      <p:font typeface="SKF Sans Office" pitchFamily="2" charset="0"/>
      <p:regular r:id="rId9"/>
      <p:bold r:id="rId10"/>
      <p:italic r:id="rId11"/>
      <p:boldItalic r:id="rId12"/>
    </p:embeddedFont>
    <p:embeddedFont>
      <p:font typeface="SKF Sans Office Medium" pitchFamily="2" charset="0"/>
      <p:regular r:id="rId13"/>
      <p:italic r:id="rId14"/>
    </p:embeddedFont>
  </p:embeddedFontLst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78" y="6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30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3.fntdata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635.xml"/><Relationship Id="rId2" Type="http://schemas.openxmlformats.org/officeDocument/2006/relationships/tags" Target="../tags/tag634.xml"/><Relationship Id="rId1" Type="http://schemas.openxmlformats.org/officeDocument/2006/relationships/theme" Target="../theme/theme4.xml"/><Relationship Id="rId6" Type="http://schemas.openxmlformats.org/officeDocument/2006/relationships/tags" Target="../tags/tag638.xml"/><Relationship Id="rId5" Type="http://schemas.openxmlformats.org/officeDocument/2006/relationships/tags" Target="../tags/tag637.xml"/><Relationship Id="rId4" Type="http://schemas.openxmlformats.org/officeDocument/2006/relationships/tags" Target="../tags/tag63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B8617F-C86B-E405-F12E-5C134B237DD5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4613" y="255600"/>
            <a:ext cx="2971800" cy="198000"/>
          </a:xfrm>
          <a:prstGeom prst="rect">
            <a:avLst/>
          </a:prstGeom>
        </p:spPr>
        <p:txBody>
          <a:bodyPr vert="horz" lIns="180000" tIns="45720" rIns="180000" bIns="45720" rtlCol="0"/>
          <a:lstStyle>
            <a:lvl1pPr algn="l">
              <a:defRPr sz="1200"/>
            </a:lvl1pPr>
          </a:lstStyle>
          <a:p>
            <a:pPr algn="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D80244-4EED-1AED-480A-BCA287DAF25C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57600"/>
            <a:ext cx="2971800" cy="198000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sz="1200"/>
            </a:lvl1pPr>
          </a:lstStyle>
          <a:p>
            <a:fld id="{EBA3F5FE-B313-4CC5-9877-A3C5F2FA460D}" type="datetimeFigureOut">
              <a:rPr lang="en-GB" sz="800" smtClean="0"/>
              <a:t>19/09/2025</a:t>
            </a:fld>
            <a:endParaRPr lang="en-GB" sz="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30D8F8-A179-4259-2959-1E86837A343E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70426-4D8B-8F32-F2B0-987CF91A8196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180000" bIns="45720" rtlCol="0" anchor="b"/>
          <a:lstStyle>
            <a:lvl1pPr algn="r">
              <a:defRPr sz="1200"/>
            </a:lvl1pPr>
          </a:lstStyle>
          <a:p>
            <a:fld id="{A9B4B3A3-9309-498B-B371-4C6825A40C15}" type="slidenum">
              <a:rPr lang="en-GB" sz="800" smtClean="0"/>
              <a:t>‹#›</a:t>
            </a:fld>
            <a:endParaRPr lang="en-GB" sz="800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A3794F8B-D116-A333-4A51-B5BFD605C7A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76360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2" Type="http://schemas.openxmlformats.org/officeDocument/2006/relationships/tags" Target="../tags/tag627.xml"/><Relationship Id="rId1" Type="http://schemas.openxmlformats.org/officeDocument/2006/relationships/theme" Target="../theme/theme3.xml"/><Relationship Id="rId6" Type="http://schemas.openxmlformats.org/officeDocument/2006/relationships/tags" Target="../tags/tag631.xml"/><Relationship Id="rId5" Type="http://schemas.openxmlformats.org/officeDocument/2006/relationships/tags" Target="../tags/tag630.xml"/><Relationship Id="rId4" Type="http://schemas.openxmlformats.org/officeDocument/2006/relationships/tags" Target="../tags/tag6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6200" y="254033"/>
            <a:ext cx="2971800" cy="197117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lang="en-GB" dirty="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56916"/>
            <a:ext cx="2971800" cy="197117"/>
          </a:xfrm>
          <a:prstGeom prst="rect">
            <a:avLst/>
          </a:prstGeom>
        </p:spPr>
        <p:txBody>
          <a:bodyPr vert="horz" lIns="144000" tIns="45720" rIns="180000" bIns="45720" rtlCol="0"/>
          <a:lstStyle>
            <a:lvl1pPr algn="r">
              <a:defRPr sz="800"/>
            </a:lvl1pPr>
          </a:lstStyle>
          <a:p>
            <a:fld id="{153DBB42-01C3-4D3C-8D5A-C1C44836255C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1518752" y="684212"/>
            <a:ext cx="3820495" cy="21490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3131957"/>
            <a:ext cx="5486400" cy="51962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lang="en-GB" dirty="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44000" tIns="45720" rIns="180000" bIns="45720" rtlCol="0" anchor="b"/>
          <a:lstStyle>
            <a:lvl1pPr algn="r">
              <a:defRPr sz="800"/>
            </a:lvl1pPr>
          </a:lstStyle>
          <a:p>
            <a:fld id="{2C5552FE-2C19-4684-9D2B-568549EFB4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958A3FA-35C4-A387-9DCC-FFA001FEC8C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556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18" Type="http://schemas.openxmlformats.org/officeDocument/2006/relationships/tags" Target="../tags/tag17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tags" Target="../tags/tag176.xml"/><Relationship Id="rId2" Type="http://schemas.openxmlformats.org/officeDocument/2006/relationships/tags" Target="../tags/tag161.xml"/><Relationship Id="rId16" Type="http://schemas.openxmlformats.org/officeDocument/2006/relationships/tags" Target="../tags/tag175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10" Type="http://schemas.openxmlformats.org/officeDocument/2006/relationships/tags" Target="../tags/tag169.xml"/><Relationship Id="rId19" Type="http://schemas.openxmlformats.org/officeDocument/2006/relationships/tags" Target="../tags/tag178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0" Type="http://schemas.openxmlformats.org/officeDocument/2006/relationships/tags" Target="../tags/tag188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tags" Target="../tags/tag201.xml"/><Relationship Id="rId5" Type="http://schemas.openxmlformats.org/officeDocument/2006/relationships/tags" Target="../tags/tag195.xml"/><Relationship Id="rId10" Type="http://schemas.openxmlformats.org/officeDocument/2006/relationships/tags" Target="../tags/tag200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13" Type="http://schemas.openxmlformats.org/officeDocument/2006/relationships/tags" Target="../tags/tag229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tags" Target="../tags/tag228.xml"/><Relationship Id="rId17" Type="http://schemas.openxmlformats.org/officeDocument/2006/relationships/tags" Target="../tags/tag233.xml"/><Relationship Id="rId2" Type="http://schemas.openxmlformats.org/officeDocument/2006/relationships/tags" Target="../tags/tag218.xml"/><Relationship Id="rId16" Type="http://schemas.openxmlformats.org/officeDocument/2006/relationships/tags" Target="../tags/tag232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tags" Target="../tags/tag227.xml"/><Relationship Id="rId5" Type="http://schemas.openxmlformats.org/officeDocument/2006/relationships/tags" Target="../tags/tag221.xml"/><Relationship Id="rId15" Type="http://schemas.openxmlformats.org/officeDocument/2006/relationships/tags" Target="../tags/tag231.xml"/><Relationship Id="rId10" Type="http://schemas.openxmlformats.org/officeDocument/2006/relationships/tags" Target="../tags/tag226.xml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4" Type="http://schemas.openxmlformats.org/officeDocument/2006/relationships/tags" Target="../tags/tag23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tags" Target="../tags/tag246.xml"/><Relationship Id="rId18" Type="http://schemas.openxmlformats.org/officeDocument/2006/relationships/tags" Target="../tags/tag251.xml"/><Relationship Id="rId3" Type="http://schemas.openxmlformats.org/officeDocument/2006/relationships/tags" Target="../tags/tag236.xml"/><Relationship Id="rId21" Type="http://schemas.openxmlformats.org/officeDocument/2006/relationships/tags" Target="../tags/tag254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" Type="http://schemas.openxmlformats.org/officeDocument/2006/relationships/tags" Target="../tags/tag235.xml"/><Relationship Id="rId16" Type="http://schemas.openxmlformats.org/officeDocument/2006/relationships/tags" Target="../tags/tag249.xml"/><Relationship Id="rId20" Type="http://schemas.openxmlformats.org/officeDocument/2006/relationships/tags" Target="../tags/tag253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238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10" Type="http://schemas.openxmlformats.org/officeDocument/2006/relationships/tags" Target="../tags/tag243.xml"/><Relationship Id="rId19" Type="http://schemas.openxmlformats.org/officeDocument/2006/relationships/tags" Target="../tags/tag252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tags" Target="../tags/tag247.xml"/><Relationship Id="rId22" Type="http://schemas.openxmlformats.org/officeDocument/2006/relationships/tags" Target="../tags/tag25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5" Type="http://schemas.openxmlformats.org/officeDocument/2006/relationships/tags" Target="../tags/tag26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80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13" Type="http://schemas.openxmlformats.org/officeDocument/2006/relationships/tags" Target="../tags/tag297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12" Type="http://schemas.openxmlformats.org/officeDocument/2006/relationships/tags" Target="../tags/tag296.xml"/><Relationship Id="rId17" Type="http://schemas.openxmlformats.org/officeDocument/2006/relationships/tags" Target="../tags/tag301.xml"/><Relationship Id="rId2" Type="http://schemas.openxmlformats.org/officeDocument/2006/relationships/tags" Target="../tags/tag286.xml"/><Relationship Id="rId16" Type="http://schemas.openxmlformats.org/officeDocument/2006/relationships/tags" Target="../tags/tag300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5" Type="http://schemas.openxmlformats.org/officeDocument/2006/relationships/tags" Target="../tags/tag289.xml"/><Relationship Id="rId15" Type="http://schemas.openxmlformats.org/officeDocument/2006/relationships/tags" Target="../tags/tag299.xml"/><Relationship Id="rId10" Type="http://schemas.openxmlformats.org/officeDocument/2006/relationships/tags" Target="../tags/tag294.xml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tags" Target="../tags/tag29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tags" Target="../tags/tag314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2" Type="http://schemas.openxmlformats.org/officeDocument/2006/relationships/tags" Target="../tags/tag303.xml"/><Relationship Id="rId16" Type="http://schemas.openxmlformats.org/officeDocument/2006/relationships/tags" Target="../tags/tag317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5" Type="http://schemas.openxmlformats.org/officeDocument/2006/relationships/tags" Target="../tags/tag316.xml"/><Relationship Id="rId10" Type="http://schemas.openxmlformats.org/officeDocument/2006/relationships/tags" Target="../tags/tag311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4" Type="http://schemas.openxmlformats.org/officeDocument/2006/relationships/tags" Target="../tags/tag31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tags" Target="../tags/tag331.xml"/><Relationship Id="rId18" Type="http://schemas.openxmlformats.org/officeDocument/2006/relationships/tags" Target="../tags/tag336.xml"/><Relationship Id="rId3" Type="http://schemas.openxmlformats.org/officeDocument/2006/relationships/tags" Target="../tags/tag321.xml"/><Relationship Id="rId21" Type="http://schemas.openxmlformats.org/officeDocument/2006/relationships/tags" Target="../tags/tag339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tags" Target="../tags/tag335.xml"/><Relationship Id="rId2" Type="http://schemas.openxmlformats.org/officeDocument/2006/relationships/tags" Target="../tags/tag320.xml"/><Relationship Id="rId16" Type="http://schemas.openxmlformats.org/officeDocument/2006/relationships/tags" Target="../tags/tag334.xml"/><Relationship Id="rId20" Type="http://schemas.openxmlformats.org/officeDocument/2006/relationships/tags" Target="../tags/tag338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23.xml"/><Relationship Id="rId15" Type="http://schemas.openxmlformats.org/officeDocument/2006/relationships/tags" Target="../tags/tag333.xml"/><Relationship Id="rId23" Type="http://schemas.openxmlformats.org/officeDocument/2006/relationships/tags" Target="../tags/tag341.xml"/><Relationship Id="rId10" Type="http://schemas.openxmlformats.org/officeDocument/2006/relationships/tags" Target="../tags/tag328.xml"/><Relationship Id="rId19" Type="http://schemas.openxmlformats.org/officeDocument/2006/relationships/tags" Target="../tags/tag337.xml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tags" Target="../tags/tag332.xml"/><Relationship Id="rId22" Type="http://schemas.openxmlformats.org/officeDocument/2006/relationships/tags" Target="../tags/tag34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tags" Target="../tags/tag354.xml"/><Relationship Id="rId18" Type="http://schemas.openxmlformats.org/officeDocument/2006/relationships/tags" Target="../tags/tag359.xml"/><Relationship Id="rId3" Type="http://schemas.openxmlformats.org/officeDocument/2006/relationships/tags" Target="../tags/tag344.xml"/><Relationship Id="rId21" Type="http://schemas.openxmlformats.org/officeDocument/2006/relationships/tags" Target="../tags/tag362.xml"/><Relationship Id="rId7" Type="http://schemas.openxmlformats.org/officeDocument/2006/relationships/tags" Target="../tags/tag348.xml"/><Relationship Id="rId12" Type="http://schemas.openxmlformats.org/officeDocument/2006/relationships/tags" Target="../tags/tag353.xml"/><Relationship Id="rId17" Type="http://schemas.openxmlformats.org/officeDocument/2006/relationships/tags" Target="../tags/tag358.xml"/><Relationship Id="rId2" Type="http://schemas.openxmlformats.org/officeDocument/2006/relationships/tags" Target="../tags/tag343.xml"/><Relationship Id="rId16" Type="http://schemas.openxmlformats.org/officeDocument/2006/relationships/tags" Target="../tags/tag357.xml"/><Relationship Id="rId20" Type="http://schemas.openxmlformats.org/officeDocument/2006/relationships/tags" Target="../tags/tag361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46.xml"/><Relationship Id="rId15" Type="http://schemas.openxmlformats.org/officeDocument/2006/relationships/tags" Target="../tags/tag356.xml"/><Relationship Id="rId23" Type="http://schemas.openxmlformats.org/officeDocument/2006/relationships/tags" Target="../tags/tag364.xml"/><Relationship Id="rId10" Type="http://schemas.openxmlformats.org/officeDocument/2006/relationships/tags" Target="../tags/tag351.xml"/><Relationship Id="rId19" Type="http://schemas.openxmlformats.org/officeDocument/2006/relationships/tags" Target="../tags/tag360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tags" Target="../tags/tag355.xml"/><Relationship Id="rId22" Type="http://schemas.openxmlformats.org/officeDocument/2006/relationships/tags" Target="../tags/tag36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tags" Target="../tags/tag370.xml"/><Relationship Id="rId5" Type="http://schemas.openxmlformats.org/officeDocument/2006/relationships/tags" Target="../tags/tag369.xml"/><Relationship Id="rId4" Type="http://schemas.openxmlformats.org/officeDocument/2006/relationships/tags" Target="../tags/tag368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5" Type="http://schemas.openxmlformats.org/officeDocument/2006/relationships/tags" Target="../tags/tag37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5" Type="http://schemas.openxmlformats.org/officeDocument/2006/relationships/tags" Target="../tags/tag385.xml"/><Relationship Id="rId4" Type="http://schemas.openxmlformats.org/officeDocument/2006/relationships/tags" Target="../tags/tag38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5" Type="http://schemas.openxmlformats.org/officeDocument/2006/relationships/tags" Target="../tags/tag39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1.xml"/><Relationship Id="rId9" Type="http://schemas.openxmlformats.org/officeDocument/2006/relationships/tags" Target="../tags/tag39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5" Type="http://schemas.openxmlformats.org/officeDocument/2006/relationships/tags" Target="../tags/tag401.xml"/><Relationship Id="rId4" Type="http://schemas.openxmlformats.org/officeDocument/2006/relationships/tags" Target="../tags/tag400.xml"/><Relationship Id="rId9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tags" Target="../tags/tag410.xml"/><Relationship Id="rId5" Type="http://schemas.openxmlformats.org/officeDocument/2006/relationships/tags" Target="../tags/tag409.xml"/><Relationship Id="rId4" Type="http://schemas.openxmlformats.org/officeDocument/2006/relationships/tags" Target="../tags/tag40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4" Type="http://schemas.openxmlformats.org/officeDocument/2006/relationships/tags" Target="../tags/tag41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2.png"/><Relationship Id="rId4" Type="http://schemas.openxmlformats.org/officeDocument/2006/relationships/tags" Target="../tags/tag420.xml"/><Relationship Id="rId9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5" Type="http://schemas.openxmlformats.org/officeDocument/2006/relationships/tags" Target="../tags/tag429.xml"/><Relationship Id="rId10" Type="http://schemas.openxmlformats.org/officeDocument/2006/relationships/image" Target="../media/image3.png"/><Relationship Id="rId4" Type="http://schemas.openxmlformats.org/officeDocument/2006/relationships/tags" Target="../tags/tag428.xml"/><Relationship Id="rId9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5" Type="http://schemas.openxmlformats.org/officeDocument/2006/relationships/tags" Target="../tags/tag437.xml"/><Relationship Id="rId10" Type="http://schemas.openxmlformats.org/officeDocument/2006/relationships/image" Target="../media/image4.png"/><Relationship Id="rId4" Type="http://schemas.openxmlformats.org/officeDocument/2006/relationships/tags" Target="../tags/tag436.xml"/><Relationship Id="rId9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11" Type="http://schemas.openxmlformats.org/officeDocument/2006/relationships/tags" Target="../tags/tag451.xml"/><Relationship Id="rId5" Type="http://schemas.openxmlformats.org/officeDocument/2006/relationships/tags" Target="../tags/tag445.xml"/><Relationship Id="rId10" Type="http://schemas.openxmlformats.org/officeDocument/2006/relationships/tags" Target="../tags/tag450.xml"/><Relationship Id="rId4" Type="http://schemas.openxmlformats.org/officeDocument/2006/relationships/tags" Target="../tags/tag444.xml"/><Relationship Id="rId9" Type="http://schemas.openxmlformats.org/officeDocument/2006/relationships/tags" Target="../tags/tag44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13" Type="http://schemas.openxmlformats.org/officeDocument/2006/relationships/tags" Target="../tags/tag464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12" Type="http://schemas.openxmlformats.org/officeDocument/2006/relationships/tags" Target="../tags/tag463.xml"/><Relationship Id="rId2" Type="http://schemas.openxmlformats.org/officeDocument/2006/relationships/tags" Target="../tags/tag453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452.xml"/><Relationship Id="rId6" Type="http://schemas.openxmlformats.org/officeDocument/2006/relationships/tags" Target="../tags/tag457.xml"/><Relationship Id="rId11" Type="http://schemas.openxmlformats.org/officeDocument/2006/relationships/tags" Target="../tags/tag462.xml"/><Relationship Id="rId5" Type="http://schemas.openxmlformats.org/officeDocument/2006/relationships/tags" Target="../tags/tag456.xml"/><Relationship Id="rId15" Type="http://schemas.openxmlformats.org/officeDocument/2006/relationships/tags" Target="../tags/tag466.xml"/><Relationship Id="rId10" Type="http://schemas.openxmlformats.org/officeDocument/2006/relationships/tags" Target="../tags/tag461.xml"/><Relationship Id="rId4" Type="http://schemas.openxmlformats.org/officeDocument/2006/relationships/tags" Target="../tags/tag455.xml"/><Relationship Id="rId9" Type="http://schemas.openxmlformats.org/officeDocument/2006/relationships/tags" Target="../tags/tag460.xml"/><Relationship Id="rId14" Type="http://schemas.openxmlformats.org/officeDocument/2006/relationships/tags" Target="../tags/tag46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image" Target="../media/image5.png"/><Relationship Id="rId18" Type="http://schemas.openxmlformats.org/officeDocument/2006/relationships/image" Target="../media/image10.svg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9.png"/><Relationship Id="rId2" Type="http://schemas.openxmlformats.org/officeDocument/2006/relationships/tags" Target="../tags/tag468.xml"/><Relationship Id="rId16" Type="http://schemas.openxmlformats.org/officeDocument/2006/relationships/image" Target="../media/image8.svg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11" Type="http://schemas.openxmlformats.org/officeDocument/2006/relationships/tags" Target="../tags/tag477.xml"/><Relationship Id="rId5" Type="http://schemas.openxmlformats.org/officeDocument/2006/relationships/tags" Target="../tags/tag471.xml"/><Relationship Id="rId15" Type="http://schemas.openxmlformats.org/officeDocument/2006/relationships/image" Target="../media/image7.png"/><Relationship Id="rId10" Type="http://schemas.openxmlformats.org/officeDocument/2006/relationships/tags" Target="../tags/tag476.xml"/><Relationship Id="rId4" Type="http://schemas.openxmlformats.org/officeDocument/2006/relationships/tags" Target="../tags/tag470.xml"/><Relationship Id="rId9" Type="http://schemas.openxmlformats.org/officeDocument/2006/relationships/tags" Target="../tags/tag475.xml"/><Relationship Id="rId14" Type="http://schemas.openxmlformats.org/officeDocument/2006/relationships/image" Target="../media/image6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9.png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12" Type="http://schemas.openxmlformats.org/officeDocument/2006/relationships/tags" Target="../tags/tag489.xml"/><Relationship Id="rId17" Type="http://schemas.openxmlformats.org/officeDocument/2006/relationships/image" Target="../media/image8.svg"/><Relationship Id="rId2" Type="http://schemas.openxmlformats.org/officeDocument/2006/relationships/tags" Target="../tags/tag479.xml"/><Relationship Id="rId16" Type="http://schemas.openxmlformats.org/officeDocument/2006/relationships/image" Target="../media/image7.png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11" Type="http://schemas.openxmlformats.org/officeDocument/2006/relationships/tags" Target="../tags/tag488.xml"/><Relationship Id="rId5" Type="http://schemas.openxmlformats.org/officeDocument/2006/relationships/tags" Target="../tags/tag482.xml"/><Relationship Id="rId15" Type="http://schemas.openxmlformats.org/officeDocument/2006/relationships/image" Target="../media/image6.svg"/><Relationship Id="rId10" Type="http://schemas.openxmlformats.org/officeDocument/2006/relationships/tags" Target="../tags/tag487.xml"/><Relationship Id="rId19" Type="http://schemas.openxmlformats.org/officeDocument/2006/relationships/image" Target="../media/image10.svg"/><Relationship Id="rId4" Type="http://schemas.openxmlformats.org/officeDocument/2006/relationships/tags" Target="../tags/tag481.xml"/><Relationship Id="rId9" Type="http://schemas.openxmlformats.org/officeDocument/2006/relationships/tags" Target="../tags/tag486.xml"/><Relationship Id="rId1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92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4.xml"/><Relationship Id="rId4" Type="http://schemas.openxmlformats.org/officeDocument/2006/relationships/tags" Target="../tags/tag49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97.xml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9.xml"/><Relationship Id="rId4" Type="http://schemas.openxmlformats.org/officeDocument/2006/relationships/tags" Target="../tags/tag49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507.xml"/><Relationship Id="rId3" Type="http://schemas.openxmlformats.org/officeDocument/2006/relationships/tags" Target="../tags/tag502.xml"/><Relationship Id="rId7" Type="http://schemas.openxmlformats.org/officeDocument/2006/relationships/tags" Target="../tags/tag506.xml"/><Relationship Id="rId2" Type="http://schemas.openxmlformats.org/officeDocument/2006/relationships/tags" Target="../tags/tag501.xml"/><Relationship Id="rId1" Type="http://schemas.openxmlformats.org/officeDocument/2006/relationships/tags" Target="../tags/tag500.xml"/><Relationship Id="rId6" Type="http://schemas.openxmlformats.org/officeDocument/2006/relationships/tags" Target="../tags/tag505.xml"/><Relationship Id="rId5" Type="http://schemas.openxmlformats.org/officeDocument/2006/relationships/tags" Target="../tags/tag504.xml"/><Relationship Id="rId4" Type="http://schemas.openxmlformats.org/officeDocument/2006/relationships/tags" Target="../tags/tag503.xml"/><Relationship Id="rId9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515.xml"/><Relationship Id="rId3" Type="http://schemas.openxmlformats.org/officeDocument/2006/relationships/tags" Target="../tags/tag510.xml"/><Relationship Id="rId7" Type="http://schemas.openxmlformats.org/officeDocument/2006/relationships/tags" Target="../tags/tag514.xml"/><Relationship Id="rId2" Type="http://schemas.openxmlformats.org/officeDocument/2006/relationships/tags" Target="../tags/tag509.xml"/><Relationship Id="rId1" Type="http://schemas.openxmlformats.org/officeDocument/2006/relationships/tags" Target="../tags/tag508.xml"/><Relationship Id="rId6" Type="http://schemas.openxmlformats.org/officeDocument/2006/relationships/tags" Target="../tags/tag513.xml"/><Relationship Id="rId5" Type="http://schemas.openxmlformats.org/officeDocument/2006/relationships/tags" Target="../tags/tag51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1.xml"/><Relationship Id="rId9" Type="http://schemas.openxmlformats.org/officeDocument/2006/relationships/tags" Target="../tags/tag516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5" Type="http://schemas.openxmlformats.org/officeDocument/2006/relationships/tags" Target="../tags/tag521.xml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4" Type="http://schemas.openxmlformats.org/officeDocument/2006/relationships/tags" Target="../tags/tag528.xml"/><Relationship Id="rId9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540.xml"/><Relationship Id="rId3" Type="http://schemas.openxmlformats.org/officeDocument/2006/relationships/tags" Target="../tags/tag535.xml"/><Relationship Id="rId7" Type="http://schemas.openxmlformats.org/officeDocument/2006/relationships/tags" Target="../tags/tag539.xml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5" Type="http://schemas.openxmlformats.org/officeDocument/2006/relationships/tags" Target="../tags/tag53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6.xml"/><Relationship Id="rId9" Type="http://schemas.openxmlformats.org/officeDocument/2006/relationships/tags" Target="../tags/tag54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4" Type="http://schemas.openxmlformats.org/officeDocument/2006/relationships/tags" Target="../tags/tag54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556.xml"/><Relationship Id="rId3" Type="http://schemas.openxmlformats.org/officeDocument/2006/relationships/tags" Target="../tags/tag551.xml"/><Relationship Id="rId7" Type="http://schemas.openxmlformats.org/officeDocument/2006/relationships/tags" Target="../tags/tag555.xml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tags" Target="../tags/tag55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53.xml"/><Relationship Id="rId10" Type="http://schemas.openxmlformats.org/officeDocument/2006/relationships/tags" Target="../tags/tag558.xml"/><Relationship Id="rId4" Type="http://schemas.openxmlformats.org/officeDocument/2006/relationships/tags" Target="../tags/tag552.xml"/><Relationship Id="rId9" Type="http://schemas.openxmlformats.org/officeDocument/2006/relationships/tags" Target="../tags/tag557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tags" Target="../tags/tag56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63.xml"/><Relationship Id="rId10" Type="http://schemas.openxmlformats.org/officeDocument/2006/relationships/tags" Target="../tags/tag568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tags" Target="../tags/tag581.xml"/><Relationship Id="rId3" Type="http://schemas.openxmlformats.org/officeDocument/2006/relationships/tags" Target="../tags/tag571.xml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2" Type="http://schemas.openxmlformats.org/officeDocument/2006/relationships/tags" Target="../tags/tag570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569.x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5" Type="http://schemas.openxmlformats.org/officeDocument/2006/relationships/tags" Target="../tags/tag573.xml"/><Relationship Id="rId15" Type="http://schemas.openxmlformats.org/officeDocument/2006/relationships/tags" Target="../tags/tag583.xml"/><Relationship Id="rId10" Type="http://schemas.openxmlformats.org/officeDocument/2006/relationships/tags" Target="../tags/tag578.xml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91.xml"/><Relationship Id="rId13" Type="http://schemas.openxmlformats.org/officeDocument/2006/relationships/tags" Target="../tags/tag596.xml"/><Relationship Id="rId18" Type="http://schemas.openxmlformats.org/officeDocument/2006/relationships/tags" Target="../tags/tag601.xml"/><Relationship Id="rId3" Type="http://schemas.openxmlformats.org/officeDocument/2006/relationships/tags" Target="../tags/tag586.xml"/><Relationship Id="rId7" Type="http://schemas.openxmlformats.org/officeDocument/2006/relationships/tags" Target="../tags/tag590.xml"/><Relationship Id="rId12" Type="http://schemas.openxmlformats.org/officeDocument/2006/relationships/tags" Target="../tags/tag595.xml"/><Relationship Id="rId17" Type="http://schemas.openxmlformats.org/officeDocument/2006/relationships/tags" Target="../tags/tag600.xml"/><Relationship Id="rId2" Type="http://schemas.openxmlformats.org/officeDocument/2006/relationships/tags" Target="../tags/tag585.xml"/><Relationship Id="rId16" Type="http://schemas.openxmlformats.org/officeDocument/2006/relationships/tags" Target="../tags/tag599.xml"/><Relationship Id="rId1" Type="http://schemas.openxmlformats.org/officeDocument/2006/relationships/tags" Target="../tags/tag584.xml"/><Relationship Id="rId6" Type="http://schemas.openxmlformats.org/officeDocument/2006/relationships/tags" Target="../tags/tag589.xml"/><Relationship Id="rId11" Type="http://schemas.openxmlformats.org/officeDocument/2006/relationships/tags" Target="../tags/tag594.xml"/><Relationship Id="rId5" Type="http://schemas.openxmlformats.org/officeDocument/2006/relationships/tags" Target="../tags/tag588.xml"/><Relationship Id="rId15" Type="http://schemas.openxmlformats.org/officeDocument/2006/relationships/tags" Target="../tags/tag598.xml"/><Relationship Id="rId10" Type="http://schemas.openxmlformats.org/officeDocument/2006/relationships/tags" Target="../tags/tag593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587.xml"/><Relationship Id="rId9" Type="http://schemas.openxmlformats.org/officeDocument/2006/relationships/tags" Target="../tags/tag592.xml"/><Relationship Id="rId14" Type="http://schemas.openxmlformats.org/officeDocument/2006/relationships/tags" Target="../tags/tag59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609.xml"/><Relationship Id="rId13" Type="http://schemas.openxmlformats.org/officeDocument/2006/relationships/tags" Target="../tags/tag614.xml"/><Relationship Id="rId18" Type="http://schemas.openxmlformats.org/officeDocument/2006/relationships/tags" Target="../tags/tag619.xml"/><Relationship Id="rId3" Type="http://schemas.openxmlformats.org/officeDocument/2006/relationships/tags" Target="../tags/tag604.xml"/><Relationship Id="rId21" Type="http://schemas.openxmlformats.org/officeDocument/2006/relationships/tags" Target="../tags/tag622.xml"/><Relationship Id="rId7" Type="http://schemas.openxmlformats.org/officeDocument/2006/relationships/tags" Target="../tags/tag608.xml"/><Relationship Id="rId12" Type="http://schemas.openxmlformats.org/officeDocument/2006/relationships/tags" Target="../tags/tag613.xml"/><Relationship Id="rId17" Type="http://schemas.openxmlformats.org/officeDocument/2006/relationships/tags" Target="../tags/tag618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603.xml"/><Relationship Id="rId16" Type="http://schemas.openxmlformats.org/officeDocument/2006/relationships/tags" Target="../tags/tag617.xml"/><Relationship Id="rId20" Type="http://schemas.openxmlformats.org/officeDocument/2006/relationships/tags" Target="../tags/tag621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11" Type="http://schemas.openxmlformats.org/officeDocument/2006/relationships/tags" Target="../tags/tag612.xml"/><Relationship Id="rId24" Type="http://schemas.openxmlformats.org/officeDocument/2006/relationships/tags" Target="../tags/tag625.xml"/><Relationship Id="rId5" Type="http://schemas.openxmlformats.org/officeDocument/2006/relationships/tags" Target="../tags/tag606.xml"/><Relationship Id="rId15" Type="http://schemas.openxmlformats.org/officeDocument/2006/relationships/tags" Target="../tags/tag616.xml"/><Relationship Id="rId23" Type="http://schemas.openxmlformats.org/officeDocument/2006/relationships/tags" Target="../tags/tag624.xml"/><Relationship Id="rId10" Type="http://schemas.openxmlformats.org/officeDocument/2006/relationships/tags" Target="../tags/tag611.xml"/><Relationship Id="rId19" Type="http://schemas.openxmlformats.org/officeDocument/2006/relationships/tags" Target="../tags/tag620.xml"/><Relationship Id="rId4" Type="http://schemas.openxmlformats.org/officeDocument/2006/relationships/tags" Target="../tags/tag605.xml"/><Relationship Id="rId9" Type="http://schemas.openxmlformats.org/officeDocument/2006/relationships/tags" Target="../tags/tag610.xml"/><Relationship Id="rId14" Type="http://schemas.openxmlformats.org/officeDocument/2006/relationships/tags" Target="../tags/tag615.xml"/><Relationship Id="rId22" Type="http://schemas.openxmlformats.org/officeDocument/2006/relationships/tags" Target="../tags/tag62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larg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17F492-0D2F-2DD2-F54D-7620C4051A97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533694 w 12192000"/>
              <a:gd name="connsiteY0" fmla="*/ 2045827 h 6858000"/>
              <a:gd name="connsiteX1" fmla="*/ 8430765 w 12192000"/>
              <a:gd name="connsiteY1" fmla="*/ 2149569 h 6858000"/>
              <a:gd name="connsiteX2" fmla="*/ 8430765 w 12192000"/>
              <a:gd name="connsiteY2" fmla="*/ 2633672 h 6858000"/>
              <a:gd name="connsiteX3" fmla="*/ 8533694 w 12192000"/>
              <a:gd name="connsiteY3" fmla="*/ 2737413 h 6858000"/>
              <a:gd name="connsiteX4" fmla="*/ 8670936 w 12192000"/>
              <a:gd name="connsiteY4" fmla="*/ 2737413 h 6858000"/>
              <a:gd name="connsiteX5" fmla="*/ 8705250 w 12192000"/>
              <a:gd name="connsiteY5" fmla="*/ 2771989 h 6858000"/>
              <a:gd name="connsiteX6" fmla="*/ 8705250 w 12192000"/>
              <a:gd name="connsiteY6" fmla="*/ 3671059 h 6858000"/>
              <a:gd name="connsiteX7" fmla="*/ 8670936 w 12192000"/>
              <a:gd name="connsiteY7" fmla="*/ 3705634 h 6858000"/>
              <a:gd name="connsiteX8" fmla="*/ 8533694 w 12192000"/>
              <a:gd name="connsiteY8" fmla="*/ 3705634 h 6858000"/>
              <a:gd name="connsiteX9" fmla="*/ 8430765 w 12192000"/>
              <a:gd name="connsiteY9" fmla="*/ 3809376 h 6858000"/>
              <a:gd name="connsiteX10" fmla="*/ 8430765 w 12192000"/>
              <a:gd name="connsiteY10" fmla="*/ 4708431 h 6858000"/>
              <a:gd name="connsiteX11" fmla="*/ 8533694 w 12192000"/>
              <a:gd name="connsiteY11" fmla="*/ 4812172 h 6858000"/>
              <a:gd name="connsiteX12" fmla="*/ 9837521 w 12192000"/>
              <a:gd name="connsiteY12" fmla="*/ 4812172 h 6858000"/>
              <a:gd name="connsiteX13" fmla="*/ 9940464 w 12192000"/>
              <a:gd name="connsiteY13" fmla="*/ 4708431 h 6858000"/>
              <a:gd name="connsiteX14" fmla="*/ 9940464 w 12192000"/>
              <a:gd name="connsiteY14" fmla="*/ 3809376 h 6858000"/>
              <a:gd name="connsiteX15" fmla="*/ 9837521 w 12192000"/>
              <a:gd name="connsiteY15" fmla="*/ 3705634 h 6858000"/>
              <a:gd name="connsiteX16" fmla="*/ 9700278 w 12192000"/>
              <a:gd name="connsiteY16" fmla="*/ 3705634 h 6858000"/>
              <a:gd name="connsiteX17" fmla="*/ 9665964 w 12192000"/>
              <a:gd name="connsiteY17" fmla="*/ 3671059 h 6858000"/>
              <a:gd name="connsiteX18" fmla="*/ 9665964 w 12192000"/>
              <a:gd name="connsiteY18" fmla="*/ 3463575 h 6858000"/>
              <a:gd name="connsiteX19" fmla="*/ 9700278 w 12192000"/>
              <a:gd name="connsiteY19" fmla="*/ 3429000 h 6858000"/>
              <a:gd name="connsiteX20" fmla="*/ 10043392 w 12192000"/>
              <a:gd name="connsiteY20" fmla="*/ 3429000 h 6858000"/>
              <a:gd name="connsiteX21" fmla="*/ 10077707 w 12192000"/>
              <a:gd name="connsiteY21" fmla="*/ 3462791 h 6858000"/>
              <a:gd name="connsiteX22" fmla="*/ 10180635 w 12192000"/>
              <a:gd name="connsiteY22" fmla="*/ 3567317 h 6858000"/>
              <a:gd name="connsiteX23" fmla="*/ 10935492 w 12192000"/>
              <a:gd name="connsiteY23" fmla="*/ 3567317 h 6858000"/>
              <a:gd name="connsiteX24" fmla="*/ 11038420 w 12192000"/>
              <a:gd name="connsiteY24" fmla="*/ 3463575 h 6858000"/>
              <a:gd name="connsiteX25" fmla="*/ 11038420 w 12192000"/>
              <a:gd name="connsiteY25" fmla="*/ 2979472 h 6858000"/>
              <a:gd name="connsiteX26" fmla="*/ 10935492 w 12192000"/>
              <a:gd name="connsiteY26" fmla="*/ 2875731 h 6858000"/>
              <a:gd name="connsiteX27" fmla="*/ 10180635 w 12192000"/>
              <a:gd name="connsiteY27" fmla="*/ 2875731 h 6858000"/>
              <a:gd name="connsiteX28" fmla="*/ 10077707 w 12192000"/>
              <a:gd name="connsiteY28" fmla="*/ 2980256 h 6858000"/>
              <a:gd name="connsiteX29" fmla="*/ 10043392 w 12192000"/>
              <a:gd name="connsiteY29" fmla="*/ 3014048 h 6858000"/>
              <a:gd name="connsiteX30" fmla="*/ 9700278 w 12192000"/>
              <a:gd name="connsiteY30" fmla="*/ 3014048 h 6858000"/>
              <a:gd name="connsiteX31" fmla="*/ 9665964 w 12192000"/>
              <a:gd name="connsiteY31" fmla="*/ 2979472 h 6858000"/>
              <a:gd name="connsiteX32" fmla="*/ 9665964 w 12192000"/>
              <a:gd name="connsiteY32" fmla="*/ 2495355 h 6858000"/>
              <a:gd name="connsiteX33" fmla="*/ 9700278 w 12192000"/>
              <a:gd name="connsiteY33" fmla="*/ 2460779 h 6858000"/>
              <a:gd name="connsiteX34" fmla="*/ 10729620 w 12192000"/>
              <a:gd name="connsiteY34" fmla="*/ 2460779 h 6858000"/>
              <a:gd name="connsiteX35" fmla="*/ 10763935 w 12192000"/>
              <a:gd name="connsiteY35" fmla="*/ 2495355 h 6858000"/>
              <a:gd name="connsiteX36" fmla="*/ 10763935 w 12192000"/>
              <a:gd name="connsiteY36" fmla="*/ 2633672 h 6858000"/>
              <a:gd name="connsiteX37" fmla="*/ 10866863 w 12192000"/>
              <a:gd name="connsiteY37" fmla="*/ 2737413 h 6858000"/>
              <a:gd name="connsiteX38" fmla="*/ 11896205 w 12192000"/>
              <a:gd name="connsiteY38" fmla="*/ 2737413 h 6858000"/>
              <a:gd name="connsiteX39" fmla="*/ 11999134 w 12192000"/>
              <a:gd name="connsiteY39" fmla="*/ 2633672 h 6858000"/>
              <a:gd name="connsiteX40" fmla="*/ 11999134 w 12192000"/>
              <a:gd name="connsiteY40" fmla="*/ 2149569 h 6858000"/>
              <a:gd name="connsiteX41" fmla="*/ 11896205 w 12192000"/>
              <a:gd name="connsiteY41" fmla="*/ 2045827 h 6858000"/>
              <a:gd name="connsiteX42" fmla="*/ 4416354 w 12192000"/>
              <a:gd name="connsiteY42" fmla="*/ 2045827 h 6858000"/>
              <a:gd name="connsiteX43" fmla="*/ 4313426 w 12192000"/>
              <a:gd name="connsiteY43" fmla="*/ 2149569 h 6858000"/>
              <a:gd name="connsiteX44" fmla="*/ 4313426 w 12192000"/>
              <a:gd name="connsiteY44" fmla="*/ 2633672 h 6858000"/>
              <a:gd name="connsiteX45" fmla="*/ 4416354 w 12192000"/>
              <a:gd name="connsiteY45" fmla="*/ 2737413 h 6858000"/>
              <a:gd name="connsiteX46" fmla="*/ 4553597 w 12192000"/>
              <a:gd name="connsiteY46" fmla="*/ 2737413 h 6858000"/>
              <a:gd name="connsiteX47" fmla="*/ 4587911 w 12192000"/>
              <a:gd name="connsiteY47" fmla="*/ 2771989 h 6858000"/>
              <a:gd name="connsiteX48" fmla="*/ 4587911 w 12192000"/>
              <a:gd name="connsiteY48" fmla="*/ 3671059 h 6858000"/>
              <a:gd name="connsiteX49" fmla="*/ 4553597 w 12192000"/>
              <a:gd name="connsiteY49" fmla="*/ 3705634 h 6858000"/>
              <a:gd name="connsiteX50" fmla="*/ 4416354 w 12192000"/>
              <a:gd name="connsiteY50" fmla="*/ 3705634 h 6858000"/>
              <a:gd name="connsiteX51" fmla="*/ 4313426 w 12192000"/>
              <a:gd name="connsiteY51" fmla="*/ 3809376 h 6858000"/>
              <a:gd name="connsiteX52" fmla="*/ 4313426 w 12192000"/>
              <a:gd name="connsiteY52" fmla="*/ 4708431 h 6858000"/>
              <a:gd name="connsiteX53" fmla="*/ 4416354 w 12192000"/>
              <a:gd name="connsiteY53" fmla="*/ 4812172 h 6858000"/>
              <a:gd name="connsiteX54" fmla="*/ 5445696 w 12192000"/>
              <a:gd name="connsiteY54" fmla="*/ 4812172 h 6858000"/>
              <a:gd name="connsiteX55" fmla="*/ 5548625 w 12192000"/>
              <a:gd name="connsiteY55" fmla="*/ 4708431 h 6858000"/>
              <a:gd name="connsiteX56" fmla="*/ 5548625 w 12192000"/>
              <a:gd name="connsiteY56" fmla="*/ 3650786 h 6858000"/>
              <a:gd name="connsiteX57" fmla="*/ 5607205 w 12192000"/>
              <a:gd name="connsiteY57" fmla="*/ 3626332 h 6858000"/>
              <a:gd name="connsiteX58" fmla="*/ 6753677 w 12192000"/>
              <a:gd name="connsiteY58" fmla="*/ 4781779 h 6858000"/>
              <a:gd name="connsiteX59" fmla="*/ 6826459 w 12192000"/>
              <a:gd name="connsiteY59" fmla="*/ 4812172 h 6858000"/>
              <a:gd name="connsiteX60" fmla="*/ 7778851 w 12192000"/>
              <a:gd name="connsiteY60" fmla="*/ 4812172 h 6858000"/>
              <a:gd name="connsiteX61" fmla="*/ 7881780 w 12192000"/>
              <a:gd name="connsiteY61" fmla="*/ 4708431 h 6858000"/>
              <a:gd name="connsiteX62" fmla="*/ 7881780 w 12192000"/>
              <a:gd name="connsiteY62" fmla="*/ 3809376 h 6858000"/>
              <a:gd name="connsiteX63" fmla="*/ 7778851 w 12192000"/>
              <a:gd name="connsiteY63" fmla="*/ 3705634 h 6858000"/>
              <a:gd name="connsiteX64" fmla="*/ 7375444 w 12192000"/>
              <a:gd name="connsiteY64" fmla="*/ 3705634 h 6858000"/>
              <a:gd name="connsiteX65" fmla="*/ 7302662 w 12192000"/>
              <a:gd name="connsiteY65" fmla="*/ 3675241 h 6858000"/>
              <a:gd name="connsiteX66" fmla="*/ 6430661 w 12192000"/>
              <a:gd name="connsiteY66" fmla="*/ 2796429 h 6858000"/>
              <a:gd name="connsiteX67" fmla="*/ 6454926 w 12192000"/>
              <a:gd name="connsiteY67" fmla="*/ 2737399 h 6858000"/>
              <a:gd name="connsiteX68" fmla="*/ 7367109 w 12192000"/>
              <a:gd name="connsiteY68" fmla="*/ 2737399 h 6858000"/>
              <a:gd name="connsiteX69" fmla="*/ 7470052 w 12192000"/>
              <a:gd name="connsiteY69" fmla="*/ 2633658 h 6858000"/>
              <a:gd name="connsiteX70" fmla="*/ 7470052 w 12192000"/>
              <a:gd name="connsiteY70" fmla="*/ 2149569 h 6858000"/>
              <a:gd name="connsiteX71" fmla="*/ 7367109 w 12192000"/>
              <a:gd name="connsiteY71" fmla="*/ 2045827 h 6858000"/>
              <a:gd name="connsiteX72" fmla="*/ 6551973 w 12192000"/>
              <a:gd name="connsiteY72" fmla="*/ 2045827 h 6858000"/>
              <a:gd name="connsiteX73" fmla="*/ 6479192 w 12192000"/>
              <a:gd name="connsiteY73" fmla="*/ 2076221 h 6858000"/>
              <a:gd name="connsiteX74" fmla="*/ 5607205 w 12192000"/>
              <a:gd name="connsiteY74" fmla="*/ 2955033 h 6858000"/>
              <a:gd name="connsiteX75" fmla="*/ 5548625 w 12192000"/>
              <a:gd name="connsiteY75" fmla="*/ 2930578 h 6858000"/>
              <a:gd name="connsiteX76" fmla="*/ 5548625 w 12192000"/>
              <a:gd name="connsiteY76" fmla="*/ 2149569 h 6858000"/>
              <a:gd name="connsiteX77" fmla="*/ 5445696 w 12192000"/>
              <a:gd name="connsiteY77" fmla="*/ 2045827 h 6858000"/>
              <a:gd name="connsiteX78" fmla="*/ 710728 w 12192000"/>
              <a:gd name="connsiteY78" fmla="*/ 2045827 h 6858000"/>
              <a:gd name="connsiteX79" fmla="*/ 607785 w 12192000"/>
              <a:gd name="connsiteY79" fmla="*/ 2149569 h 6858000"/>
              <a:gd name="connsiteX80" fmla="*/ 607785 w 12192000"/>
              <a:gd name="connsiteY80" fmla="*/ 3325258 h 6858000"/>
              <a:gd name="connsiteX81" fmla="*/ 710728 w 12192000"/>
              <a:gd name="connsiteY81" fmla="*/ 3429000 h 6858000"/>
              <a:gd name="connsiteX82" fmla="*/ 2494913 w 12192000"/>
              <a:gd name="connsiteY82" fmla="*/ 3429000 h 6858000"/>
              <a:gd name="connsiteX83" fmla="*/ 2529227 w 12192000"/>
              <a:gd name="connsiteY83" fmla="*/ 3463575 h 6858000"/>
              <a:gd name="connsiteX84" fmla="*/ 2529227 w 12192000"/>
              <a:gd name="connsiteY84" fmla="*/ 4362645 h 6858000"/>
              <a:gd name="connsiteX85" fmla="*/ 2494913 w 12192000"/>
              <a:gd name="connsiteY85" fmla="*/ 4397220 h 6858000"/>
              <a:gd name="connsiteX86" fmla="*/ 1465570 w 12192000"/>
              <a:gd name="connsiteY86" fmla="*/ 4397220 h 6858000"/>
              <a:gd name="connsiteX87" fmla="*/ 1431256 w 12192000"/>
              <a:gd name="connsiteY87" fmla="*/ 4362645 h 6858000"/>
              <a:gd name="connsiteX88" fmla="*/ 1431256 w 12192000"/>
              <a:gd name="connsiteY88" fmla="*/ 3809376 h 6858000"/>
              <a:gd name="connsiteX89" fmla="*/ 1328328 w 12192000"/>
              <a:gd name="connsiteY89" fmla="*/ 3705634 h 6858000"/>
              <a:gd name="connsiteX90" fmla="*/ 298986 w 12192000"/>
              <a:gd name="connsiteY90" fmla="*/ 3705634 h 6858000"/>
              <a:gd name="connsiteX91" fmla="*/ 196057 w 12192000"/>
              <a:gd name="connsiteY91" fmla="*/ 3809376 h 6858000"/>
              <a:gd name="connsiteX92" fmla="*/ 196057 w 12192000"/>
              <a:gd name="connsiteY92" fmla="*/ 4708431 h 6858000"/>
              <a:gd name="connsiteX93" fmla="*/ 298986 w 12192000"/>
              <a:gd name="connsiteY93" fmla="*/ 4812172 h 6858000"/>
              <a:gd name="connsiteX94" fmla="*/ 3661498 w 12192000"/>
              <a:gd name="connsiteY94" fmla="*/ 4812172 h 6858000"/>
              <a:gd name="connsiteX95" fmla="*/ 3764426 w 12192000"/>
              <a:gd name="connsiteY95" fmla="*/ 4708431 h 6858000"/>
              <a:gd name="connsiteX96" fmla="*/ 3764426 w 12192000"/>
              <a:gd name="connsiteY96" fmla="*/ 3117790 h 6858000"/>
              <a:gd name="connsiteX97" fmla="*/ 3661498 w 12192000"/>
              <a:gd name="connsiteY97" fmla="*/ 3014048 h 6858000"/>
              <a:gd name="connsiteX98" fmla="*/ 1602813 w 12192000"/>
              <a:gd name="connsiteY98" fmla="*/ 3014048 h 6858000"/>
              <a:gd name="connsiteX99" fmla="*/ 1568513 w 12192000"/>
              <a:gd name="connsiteY99" fmla="*/ 2979472 h 6858000"/>
              <a:gd name="connsiteX100" fmla="*/ 1568513 w 12192000"/>
              <a:gd name="connsiteY100" fmla="*/ 2495355 h 6858000"/>
              <a:gd name="connsiteX101" fmla="*/ 1602813 w 12192000"/>
              <a:gd name="connsiteY101" fmla="*/ 2460779 h 6858000"/>
              <a:gd name="connsiteX102" fmla="*/ 2357670 w 12192000"/>
              <a:gd name="connsiteY102" fmla="*/ 2460779 h 6858000"/>
              <a:gd name="connsiteX103" fmla="*/ 2391984 w 12192000"/>
              <a:gd name="connsiteY103" fmla="*/ 2495340 h 6858000"/>
              <a:gd name="connsiteX104" fmla="*/ 2391984 w 12192000"/>
              <a:gd name="connsiteY104" fmla="*/ 2633672 h 6858000"/>
              <a:gd name="connsiteX105" fmla="*/ 2494913 w 12192000"/>
              <a:gd name="connsiteY105" fmla="*/ 2737413 h 6858000"/>
              <a:gd name="connsiteX106" fmla="*/ 3249755 w 12192000"/>
              <a:gd name="connsiteY106" fmla="*/ 2737413 h 6858000"/>
              <a:gd name="connsiteX107" fmla="*/ 3352698 w 12192000"/>
              <a:gd name="connsiteY107" fmla="*/ 2633672 h 6858000"/>
              <a:gd name="connsiteX108" fmla="*/ 3352698 w 12192000"/>
              <a:gd name="connsiteY108" fmla="*/ 2149569 h 6858000"/>
              <a:gd name="connsiteX109" fmla="*/ 3249755 w 12192000"/>
              <a:gd name="connsiteY109" fmla="*/ 2045827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8533694" y="2045827"/>
                </a:moveTo>
                <a:cubicBezTo>
                  <a:pt x="8476856" y="2045827"/>
                  <a:pt x="8430765" y="2092267"/>
                  <a:pt x="8430765" y="2149569"/>
                </a:cubicBezTo>
                <a:lnTo>
                  <a:pt x="8430765" y="2633672"/>
                </a:lnTo>
                <a:cubicBezTo>
                  <a:pt x="8430765" y="2690974"/>
                  <a:pt x="8476856" y="2737413"/>
                  <a:pt x="8533694" y="2737413"/>
                </a:cubicBezTo>
                <a:lnTo>
                  <a:pt x="8670936" y="2737413"/>
                </a:lnTo>
                <a:cubicBezTo>
                  <a:pt x="8689901" y="2737413"/>
                  <a:pt x="8705250" y="2752894"/>
                  <a:pt x="8705250" y="2771989"/>
                </a:cubicBezTo>
                <a:lnTo>
                  <a:pt x="8705250" y="3671059"/>
                </a:lnTo>
                <a:cubicBezTo>
                  <a:pt x="8705250" y="3690154"/>
                  <a:pt x="8689901" y="3705634"/>
                  <a:pt x="8670936" y="3705634"/>
                </a:cubicBezTo>
                <a:lnTo>
                  <a:pt x="8533694" y="3705634"/>
                </a:lnTo>
                <a:cubicBezTo>
                  <a:pt x="8476856" y="3705634"/>
                  <a:pt x="8430765" y="3752088"/>
                  <a:pt x="8430765" y="3809376"/>
                </a:cubicBezTo>
                <a:lnTo>
                  <a:pt x="8430765" y="4708431"/>
                </a:lnTo>
                <a:cubicBezTo>
                  <a:pt x="8430765" y="4765732"/>
                  <a:pt x="8476856" y="4812172"/>
                  <a:pt x="8533694" y="4812172"/>
                </a:cubicBezTo>
                <a:lnTo>
                  <a:pt x="9837521" y="4812172"/>
                </a:lnTo>
                <a:cubicBezTo>
                  <a:pt x="9894373" y="4812172"/>
                  <a:pt x="9940464" y="4765732"/>
                  <a:pt x="9940464" y="4708431"/>
                </a:cubicBezTo>
                <a:lnTo>
                  <a:pt x="9940464" y="3809376"/>
                </a:lnTo>
                <a:cubicBezTo>
                  <a:pt x="9940464" y="3752088"/>
                  <a:pt x="9894373" y="3705634"/>
                  <a:pt x="9837521" y="3705634"/>
                </a:cubicBezTo>
                <a:lnTo>
                  <a:pt x="9700278" y="3705634"/>
                </a:lnTo>
                <a:cubicBezTo>
                  <a:pt x="9681328" y="3705634"/>
                  <a:pt x="9665964" y="3690154"/>
                  <a:pt x="9665964" y="3671059"/>
                </a:cubicBezTo>
                <a:lnTo>
                  <a:pt x="9665964" y="3463575"/>
                </a:lnTo>
                <a:cubicBezTo>
                  <a:pt x="9665964" y="3444480"/>
                  <a:pt x="9681328" y="3429000"/>
                  <a:pt x="9700278" y="3429000"/>
                </a:cubicBezTo>
                <a:lnTo>
                  <a:pt x="10043392" y="3429000"/>
                </a:lnTo>
                <a:cubicBezTo>
                  <a:pt x="10062081" y="3429000"/>
                  <a:pt x="10077837" y="3443957"/>
                  <a:pt x="10077707" y="3462791"/>
                </a:cubicBezTo>
                <a:cubicBezTo>
                  <a:pt x="10077271" y="3520427"/>
                  <a:pt x="10123522" y="3567317"/>
                  <a:pt x="10180635" y="3567317"/>
                </a:cubicBezTo>
                <a:lnTo>
                  <a:pt x="10935492" y="3567317"/>
                </a:lnTo>
                <a:cubicBezTo>
                  <a:pt x="10992329" y="3567317"/>
                  <a:pt x="11038420" y="3520877"/>
                  <a:pt x="11038420" y="3463575"/>
                </a:cubicBezTo>
                <a:lnTo>
                  <a:pt x="11038420" y="2979472"/>
                </a:lnTo>
                <a:cubicBezTo>
                  <a:pt x="11038420" y="2922171"/>
                  <a:pt x="10992329" y="2875731"/>
                  <a:pt x="10935492" y="2875731"/>
                </a:cubicBezTo>
                <a:lnTo>
                  <a:pt x="10180635" y="2875731"/>
                </a:lnTo>
                <a:cubicBezTo>
                  <a:pt x="10123522" y="2875731"/>
                  <a:pt x="10077271" y="2922606"/>
                  <a:pt x="10077707" y="2980256"/>
                </a:cubicBezTo>
                <a:cubicBezTo>
                  <a:pt x="10077837" y="2999091"/>
                  <a:pt x="10062081" y="3014048"/>
                  <a:pt x="10043392" y="3014048"/>
                </a:cubicBezTo>
                <a:lnTo>
                  <a:pt x="9700278" y="3014048"/>
                </a:lnTo>
                <a:cubicBezTo>
                  <a:pt x="9681328" y="3014048"/>
                  <a:pt x="9665964" y="2998568"/>
                  <a:pt x="9665964" y="2979472"/>
                </a:cubicBezTo>
                <a:lnTo>
                  <a:pt x="9665964" y="2495355"/>
                </a:lnTo>
                <a:cubicBezTo>
                  <a:pt x="9665964" y="2476259"/>
                  <a:pt x="9681328" y="2460779"/>
                  <a:pt x="9700278" y="2460779"/>
                </a:cubicBezTo>
                <a:lnTo>
                  <a:pt x="10729620" y="2460779"/>
                </a:lnTo>
                <a:cubicBezTo>
                  <a:pt x="10748571" y="2460779"/>
                  <a:pt x="10763935" y="2476259"/>
                  <a:pt x="10763935" y="2495355"/>
                </a:cubicBezTo>
                <a:lnTo>
                  <a:pt x="10763935" y="2633672"/>
                </a:lnTo>
                <a:cubicBezTo>
                  <a:pt x="10763935" y="2690974"/>
                  <a:pt x="10810011" y="2737413"/>
                  <a:pt x="10866863" y="2737413"/>
                </a:cubicBezTo>
                <a:lnTo>
                  <a:pt x="11896205" y="2737413"/>
                </a:lnTo>
                <a:cubicBezTo>
                  <a:pt x="11953042" y="2737413"/>
                  <a:pt x="11999134" y="2690974"/>
                  <a:pt x="11999134" y="2633672"/>
                </a:cubicBezTo>
                <a:lnTo>
                  <a:pt x="11999134" y="2149569"/>
                </a:lnTo>
                <a:cubicBezTo>
                  <a:pt x="11999134" y="2092267"/>
                  <a:pt x="11953042" y="2045827"/>
                  <a:pt x="11896205" y="2045827"/>
                </a:cubicBezTo>
                <a:close/>
                <a:moveTo>
                  <a:pt x="4416354" y="2045827"/>
                </a:moveTo>
                <a:cubicBezTo>
                  <a:pt x="4359517" y="2045827"/>
                  <a:pt x="4313426" y="2092267"/>
                  <a:pt x="4313426" y="2149569"/>
                </a:cubicBezTo>
                <a:lnTo>
                  <a:pt x="4313426" y="2633672"/>
                </a:lnTo>
                <a:cubicBezTo>
                  <a:pt x="4313426" y="2690974"/>
                  <a:pt x="4359517" y="2737413"/>
                  <a:pt x="4416354" y="2737413"/>
                </a:cubicBezTo>
                <a:lnTo>
                  <a:pt x="4553597" y="2737413"/>
                </a:lnTo>
                <a:cubicBezTo>
                  <a:pt x="4572562" y="2737413"/>
                  <a:pt x="4587911" y="2752894"/>
                  <a:pt x="4587911" y="2771989"/>
                </a:cubicBezTo>
                <a:lnTo>
                  <a:pt x="4587911" y="3671059"/>
                </a:lnTo>
                <a:cubicBezTo>
                  <a:pt x="4587911" y="3690154"/>
                  <a:pt x="4572562" y="3705634"/>
                  <a:pt x="4553597" y="3705634"/>
                </a:cubicBezTo>
                <a:lnTo>
                  <a:pt x="4416354" y="3705634"/>
                </a:lnTo>
                <a:cubicBezTo>
                  <a:pt x="4359517" y="3705634"/>
                  <a:pt x="4313426" y="3752088"/>
                  <a:pt x="4313426" y="3809376"/>
                </a:cubicBezTo>
                <a:lnTo>
                  <a:pt x="4313426" y="4708431"/>
                </a:lnTo>
                <a:cubicBezTo>
                  <a:pt x="4313426" y="4765732"/>
                  <a:pt x="4359517" y="4812158"/>
                  <a:pt x="4416354" y="4812172"/>
                </a:cubicBezTo>
                <a:lnTo>
                  <a:pt x="5445696" y="4812172"/>
                </a:lnTo>
                <a:cubicBezTo>
                  <a:pt x="5502548" y="4812172"/>
                  <a:pt x="5548625" y="4765732"/>
                  <a:pt x="5548625" y="4708431"/>
                </a:cubicBezTo>
                <a:lnTo>
                  <a:pt x="5548625" y="3650786"/>
                </a:lnTo>
                <a:cubicBezTo>
                  <a:pt x="5548625" y="3619986"/>
                  <a:pt x="5585596" y="3604550"/>
                  <a:pt x="5607205" y="3626332"/>
                </a:cubicBezTo>
                <a:lnTo>
                  <a:pt x="6753677" y="4781779"/>
                </a:lnTo>
                <a:cubicBezTo>
                  <a:pt x="6772976" y="4801237"/>
                  <a:pt x="6799158" y="4812172"/>
                  <a:pt x="6826459" y="4812172"/>
                </a:cubicBezTo>
                <a:lnTo>
                  <a:pt x="7778851" y="4812172"/>
                </a:lnTo>
                <a:cubicBezTo>
                  <a:pt x="7835689" y="4812172"/>
                  <a:pt x="7881780" y="4765732"/>
                  <a:pt x="7881780" y="4708431"/>
                </a:cubicBezTo>
                <a:lnTo>
                  <a:pt x="7881780" y="3809376"/>
                </a:lnTo>
                <a:cubicBezTo>
                  <a:pt x="7881780" y="3752088"/>
                  <a:pt x="7835689" y="3705634"/>
                  <a:pt x="7778851" y="3705634"/>
                </a:cubicBezTo>
                <a:lnTo>
                  <a:pt x="7375444" y="3705634"/>
                </a:lnTo>
                <a:cubicBezTo>
                  <a:pt x="7348144" y="3705634"/>
                  <a:pt x="7321961" y="3694714"/>
                  <a:pt x="7302662" y="3675241"/>
                </a:cubicBezTo>
                <a:lnTo>
                  <a:pt x="6430661" y="2796429"/>
                </a:lnTo>
                <a:cubicBezTo>
                  <a:pt x="6409053" y="2774647"/>
                  <a:pt x="6424344" y="2737399"/>
                  <a:pt x="6454926" y="2737399"/>
                </a:cubicBezTo>
                <a:lnTo>
                  <a:pt x="7367109" y="2737399"/>
                </a:lnTo>
                <a:cubicBezTo>
                  <a:pt x="7423960" y="2737399"/>
                  <a:pt x="7470052" y="2690959"/>
                  <a:pt x="7470052" y="2633658"/>
                </a:cubicBezTo>
                <a:lnTo>
                  <a:pt x="7470052" y="2149569"/>
                </a:lnTo>
                <a:cubicBezTo>
                  <a:pt x="7470052" y="2092267"/>
                  <a:pt x="7423960" y="2045827"/>
                  <a:pt x="7367109" y="2045827"/>
                </a:cubicBezTo>
                <a:lnTo>
                  <a:pt x="6551973" y="2045827"/>
                </a:lnTo>
                <a:cubicBezTo>
                  <a:pt x="6524673" y="2045827"/>
                  <a:pt x="6498491" y="2056747"/>
                  <a:pt x="6479192" y="2076221"/>
                </a:cubicBezTo>
                <a:lnTo>
                  <a:pt x="5607205" y="2955033"/>
                </a:lnTo>
                <a:cubicBezTo>
                  <a:pt x="5585596" y="2976815"/>
                  <a:pt x="5548625" y="2961393"/>
                  <a:pt x="5548625" y="2930578"/>
                </a:cubicBezTo>
                <a:lnTo>
                  <a:pt x="5548625" y="2149569"/>
                </a:lnTo>
                <a:cubicBezTo>
                  <a:pt x="5548625" y="2092267"/>
                  <a:pt x="5502548" y="2045827"/>
                  <a:pt x="5445696" y="2045827"/>
                </a:cubicBezTo>
                <a:close/>
                <a:moveTo>
                  <a:pt x="710728" y="2045827"/>
                </a:moveTo>
                <a:cubicBezTo>
                  <a:pt x="653877" y="2045827"/>
                  <a:pt x="607785" y="2092267"/>
                  <a:pt x="607785" y="2149569"/>
                </a:cubicBezTo>
                <a:lnTo>
                  <a:pt x="607785" y="3325258"/>
                </a:lnTo>
                <a:cubicBezTo>
                  <a:pt x="607785" y="3382560"/>
                  <a:pt x="653877" y="3429000"/>
                  <a:pt x="710728" y="3429000"/>
                </a:cubicBezTo>
                <a:lnTo>
                  <a:pt x="2494913" y="3429000"/>
                </a:lnTo>
                <a:cubicBezTo>
                  <a:pt x="2513863" y="3429000"/>
                  <a:pt x="2529227" y="3444480"/>
                  <a:pt x="2529227" y="3463575"/>
                </a:cubicBezTo>
                <a:lnTo>
                  <a:pt x="2529227" y="4362645"/>
                </a:lnTo>
                <a:cubicBezTo>
                  <a:pt x="2529227" y="4381740"/>
                  <a:pt x="2513863" y="4397220"/>
                  <a:pt x="2494913" y="4397220"/>
                </a:cubicBezTo>
                <a:lnTo>
                  <a:pt x="1465570" y="4397220"/>
                </a:lnTo>
                <a:cubicBezTo>
                  <a:pt x="1446620" y="4397220"/>
                  <a:pt x="1431256" y="4381740"/>
                  <a:pt x="1431256" y="4362645"/>
                </a:cubicBezTo>
                <a:lnTo>
                  <a:pt x="1431256" y="3809376"/>
                </a:lnTo>
                <a:cubicBezTo>
                  <a:pt x="1431256" y="3752088"/>
                  <a:pt x="1385180" y="3705634"/>
                  <a:pt x="1328328" y="3705634"/>
                </a:cubicBezTo>
                <a:lnTo>
                  <a:pt x="298986" y="3705634"/>
                </a:lnTo>
                <a:cubicBezTo>
                  <a:pt x="242148" y="3705634"/>
                  <a:pt x="196057" y="3752088"/>
                  <a:pt x="196057" y="3809376"/>
                </a:cubicBezTo>
                <a:lnTo>
                  <a:pt x="196057" y="4708431"/>
                </a:lnTo>
                <a:cubicBezTo>
                  <a:pt x="196057" y="4765732"/>
                  <a:pt x="242148" y="4812172"/>
                  <a:pt x="298986" y="4812172"/>
                </a:cubicBezTo>
                <a:lnTo>
                  <a:pt x="3661498" y="4812172"/>
                </a:lnTo>
                <a:cubicBezTo>
                  <a:pt x="3718349" y="4812172"/>
                  <a:pt x="3764426" y="4765732"/>
                  <a:pt x="3764426" y="4708431"/>
                </a:cubicBezTo>
                <a:lnTo>
                  <a:pt x="3764426" y="3117790"/>
                </a:lnTo>
                <a:cubicBezTo>
                  <a:pt x="3764426" y="3060502"/>
                  <a:pt x="3718349" y="3014048"/>
                  <a:pt x="3661498" y="3014048"/>
                </a:cubicBezTo>
                <a:lnTo>
                  <a:pt x="1602813" y="3014048"/>
                </a:lnTo>
                <a:cubicBezTo>
                  <a:pt x="1583863" y="3014048"/>
                  <a:pt x="1568513" y="2998568"/>
                  <a:pt x="1568513" y="2979472"/>
                </a:cubicBezTo>
                <a:lnTo>
                  <a:pt x="1568513" y="2495355"/>
                </a:lnTo>
                <a:cubicBezTo>
                  <a:pt x="1568513" y="2476259"/>
                  <a:pt x="1583863" y="2460779"/>
                  <a:pt x="1602813" y="2460779"/>
                </a:cubicBezTo>
                <a:lnTo>
                  <a:pt x="2357670" y="2460779"/>
                </a:lnTo>
                <a:cubicBezTo>
                  <a:pt x="2376621" y="2460764"/>
                  <a:pt x="2391984" y="2476244"/>
                  <a:pt x="2391984" y="2495340"/>
                </a:cubicBezTo>
                <a:lnTo>
                  <a:pt x="2391984" y="2633672"/>
                </a:lnTo>
                <a:cubicBezTo>
                  <a:pt x="2391984" y="2690974"/>
                  <a:pt x="2438061" y="2737413"/>
                  <a:pt x="2494913" y="2737413"/>
                </a:cubicBezTo>
                <a:lnTo>
                  <a:pt x="3249755" y="2737413"/>
                </a:lnTo>
                <a:cubicBezTo>
                  <a:pt x="3306607" y="2737413"/>
                  <a:pt x="3352698" y="2690974"/>
                  <a:pt x="3352698" y="2633672"/>
                </a:cubicBezTo>
                <a:lnTo>
                  <a:pt x="3352698" y="2149569"/>
                </a:lnTo>
                <a:cubicBezTo>
                  <a:pt x="3352698" y="2092267"/>
                  <a:pt x="3306607" y="2045827"/>
                  <a:pt x="3249755" y="20458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tIns="0" bIns="360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875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9DC9A-405D-2BD5-A75B-0ACC7044B2B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64192"/>
            <a:ext cx="5830887" cy="2191783"/>
          </a:xfrm>
        </p:spPr>
        <p:txBody>
          <a:bodyPr anchor="t" anchorCtr="0">
            <a:noAutofit/>
          </a:bodyPr>
          <a:lstStyle>
            <a:lvl1pPr>
              <a:defRPr sz="4000" spc="-5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C98940-A911-D289-ACE5-D7D7EA0734DD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15A74A-B1B2-7DF6-2A75-5F00971361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D74F1-F37E-469E-EB95-54C2267ED7B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5C29A2-5AB4-E01D-E895-1DC43038A8BA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193675" y="1152569"/>
            <a:ext cx="118030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62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16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½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5850" y="0"/>
            <a:ext cx="602615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22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5850" y="2398713"/>
            <a:ext cx="5830888" cy="426243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048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ro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193676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161213" y="1152526"/>
            <a:ext cx="4835525" cy="2203450"/>
          </a:xfrm>
        </p:spPr>
        <p:txBody>
          <a:bodyPr tIns="936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C4036DC-9E2D-2425-3617-510F34DE85B3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3188340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7EA61AB-0EFB-4B71-9F26-71E1CD6D0CE0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6167437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F87785A-7342-21FA-E4D0-EFFF1F15B40C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10"/>
            </p:custDataLst>
          </p:nvPr>
        </p:nvSpPr>
        <p:spPr>
          <a:xfrm>
            <a:off x="9160515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217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5170488" y="1296988"/>
            <a:ext cx="6826250" cy="53641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51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195264"/>
            <a:ext cx="7821613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0624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3500438"/>
            <a:ext cx="782161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17512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14BE38-B7A1-8CF9-CFBF-5FE90A6AD6E3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498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3500438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17512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14BE38-B7A1-8CF9-CFBF-5FE90A6AD6E3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10"/>
            </p:custDataLst>
          </p:nvPr>
        </p:nvSpPr>
        <p:spPr>
          <a:xfrm>
            <a:off x="8156575" y="3500438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314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8" y="195264"/>
            <a:ext cx="3840160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739A07-2DF5-0FA5-2629-0458979F7538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8875" y="3499200"/>
            <a:ext cx="3836413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846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ma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2B8758-CD4A-41DB-58B3-FBA91C09352F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072344 w 12192000"/>
              <a:gd name="connsiteY0" fmla="*/ 195264 h 6858000"/>
              <a:gd name="connsiteX1" fmla="*/ 3036727 w 12192000"/>
              <a:gd name="connsiteY1" fmla="*/ 231163 h 6858000"/>
              <a:gd name="connsiteX2" fmla="*/ 3036727 w 12192000"/>
              <a:gd name="connsiteY2" fmla="*/ 398681 h 6858000"/>
              <a:gd name="connsiteX3" fmla="*/ 3072344 w 12192000"/>
              <a:gd name="connsiteY3" fmla="*/ 434580 h 6858000"/>
              <a:gd name="connsiteX4" fmla="*/ 3119835 w 12192000"/>
              <a:gd name="connsiteY4" fmla="*/ 434580 h 6858000"/>
              <a:gd name="connsiteX5" fmla="*/ 3131710 w 12192000"/>
              <a:gd name="connsiteY5" fmla="*/ 446544 h 6858000"/>
              <a:gd name="connsiteX6" fmla="*/ 3131710 w 12192000"/>
              <a:gd name="connsiteY6" fmla="*/ 757657 h 6858000"/>
              <a:gd name="connsiteX7" fmla="*/ 3119835 w 12192000"/>
              <a:gd name="connsiteY7" fmla="*/ 769621 h 6858000"/>
              <a:gd name="connsiteX8" fmla="*/ 3072344 w 12192000"/>
              <a:gd name="connsiteY8" fmla="*/ 769621 h 6858000"/>
              <a:gd name="connsiteX9" fmla="*/ 3036727 w 12192000"/>
              <a:gd name="connsiteY9" fmla="*/ 805520 h 6858000"/>
              <a:gd name="connsiteX10" fmla="*/ 3036727 w 12192000"/>
              <a:gd name="connsiteY10" fmla="*/ 1116628 h 6858000"/>
              <a:gd name="connsiteX11" fmla="*/ 3072344 w 12192000"/>
              <a:gd name="connsiteY11" fmla="*/ 1152526 h 6858000"/>
              <a:gd name="connsiteX12" fmla="*/ 3523519 w 12192000"/>
              <a:gd name="connsiteY12" fmla="*/ 1152526 h 6858000"/>
              <a:gd name="connsiteX13" fmla="*/ 3559141 w 12192000"/>
              <a:gd name="connsiteY13" fmla="*/ 1116628 h 6858000"/>
              <a:gd name="connsiteX14" fmla="*/ 3559141 w 12192000"/>
              <a:gd name="connsiteY14" fmla="*/ 805520 h 6858000"/>
              <a:gd name="connsiteX15" fmla="*/ 3523519 w 12192000"/>
              <a:gd name="connsiteY15" fmla="*/ 769621 h 6858000"/>
              <a:gd name="connsiteX16" fmla="*/ 3476028 w 12192000"/>
              <a:gd name="connsiteY16" fmla="*/ 769621 h 6858000"/>
              <a:gd name="connsiteX17" fmla="*/ 3464154 w 12192000"/>
              <a:gd name="connsiteY17" fmla="*/ 757657 h 6858000"/>
              <a:gd name="connsiteX18" fmla="*/ 3464154 w 12192000"/>
              <a:gd name="connsiteY18" fmla="*/ 685860 h 6858000"/>
              <a:gd name="connsiteX19" fmla="*/ 3476028 w 12192000"/>
              <a:gd name="connsiteY19" fmla="*/ 673895 h 6858000"/>
              <a:gd name="connsiteX20" fmla="*/ 3594758 w 12192000"/>
              <a:gd name="connsiteY20" fmla="*/ 673895 h 6858000"/>
              <a:gd name="connsiteX21" fmla="*/ 3606632 w 12192000"/>
              <a:gd name="connsiteY21" fmla="*/ 685588 h 6858000"/>
              <a:gd name="connsiteX22" fmla="*/ 3642250 w 12192000"/>
              <a:gd name="connsiteY22" fmla="*/ 721758 h 6858000"/>
              <a:gd name="connsiteX23" fmla="*/ 3903459 w 12192000"/>
              <a:gd name="connsiteY23" fmla="*/ 721758 h 6858000"/>
              <a:gd name="connsiteX24" fmla="*/ 3939076 w 12192000"/>
              <a:gd name="connsiteY24" fmla="*/ 685860 h 6858000"/>
              <a:gd name="connsiteX25" fmla="*/ 3939076 w 12192000"/>
              <a:gd name="connsiteY25" fmla="*/ 518341 h 6858000"/>
              <a:gd name="connsiteX26" fmla="*/ 3903459 w 12192000"/>
              <a:gd name="connsiteY26" fmla="*/ 482443 h 6858000"/>
              <a:gd name="connsiteX27" fmla="*/ 3642250 w 12192000"/>
              <a:gd name="connsiteY27" fmla="*/ 482443 h 6858000"/>
              <a:gd name="connsiteX28" fmla="*/ 3606632 w 12192000"/>
              <a:gd name="connsiteY28" fmla="*/ 518613 h 6858000"/>
              <a:gd name="connsiteX29" fmla="*/ 3594758 w 12192000"/>
              <a:gd name="connsiteY29" fmla="*/ 530306 h 6858000"/>
              <a:gd name="connsiteX30" fmla="*/ 3476028 w 12192000"/>
              <a:gd name="connsiteY30" fmla="*/ 530306 h 6858000"/>
              <a:gd name="connsiteX31" fmla="*/ 3464154 w 12192000"/>
              <a:gd name="connsiteY31" fmla="*/ 518341 h 6858000"/>
              <a:gd name="connsiteX32" fmla="*/ 3464154 w 12192000"/>
              <a:gd name="connsiteY32" fmla="*/ 350818 h 6858000"/>
              <a:gd name="connsiteX33" fmla="*/ 3476028 w 12192000"/>
              <a:gd name="connsiteY33" fmla="*/ 338853 h 6858000"/>
              <a:gd name="connsiteX34" fmla="*/ 3832220 w 12192000"/>
              <a:gd name="connsiteY34" fmla="*/ 338853 h 6858000"/>
              <a:gd name="connsiteX35" fmla="*/ 3844094 w 12192000"/>
              <a:gd name="connsiteY35" fmla="*/ 350818 h 6858000"/>
              <a:gd name="connsiteX36" fmla="*/ 3844094 w 12192000"/>
              <a:gd name="connsiteY36" fmla="*/ 398681 h 6858000"/>
              <a:gd name="connsiteX37" fmla="*/ 3879711 w 12192000"/>
              <a:gd name="connsiteY37" fmla="*/ 434580 h 6858000"/>
              <a:gd name="connsiteX38" fmla="*/ 4235903 w 12192000"/>
              <a:gd name="connsiteY38" fmla="*/ 434580 h 6858000"/>
              <a:gd name="connsiteX39" fmla="*/ 4271520 w 12192000"/>
              <a:gd name="connsiteY39" fmla="*/ 398681 h 6858000"/>
              <a:gd name="connsiteX40" fmla="*/ 4271520 w 12192000"/>
              <a:gd name="connsiteY40" fmla="*/ 231163 h 6858000"/>
              <a:gd name="connsiteX41" fmla="*/ 4235903 w 12192000"/>
              <a:gd name="connsiteY41" fmla="*/ 195264 h 6858000"/>
              <a:gd name="connsiteX42" fmla="*/ 1647586 w 12192000"/>
              <a:gd name="connsiteY42" fmla="*/ 195264 h 6858000"/>
              <a:gd name="connsiteX43" fmla="*/ 1611969 w 12192000"/>
              <a:gd name="connsiteY43" fmla="*/ 231163 h 6858000"/>
              <a:gd name="connsiteX44" fmla="*/ 1611969 w 12192000"/>
              <a:gd name="connsiteY44" fmla="*/ 398681 h 6858000"/>
              <a:gd name="connsiteX45" fmla="*/ 1647586 w 12192000"/>
              <a:gd name="connsiteY45" fmla="*/ 434580 h 6858000"/>
              <a:gd name="connsiteX46" fmla="*/ 1695077 w 12192000"/>
              <a:gd name="connsiteY46" fmla="*/ 434580 h 6858000"/>
              <a:gd name="connsiteX47" fmla="*/ 1706951 w 12192000"/>
              <a:gd name="connsiteY47" fmla="*/ 446544 h 6858000"/>
              <a:gd name="connsiteX48" fmla="*/ 1706951 w 12192000"/>
              <a:gd name="connsiteY48" fmla="*/ 757657 h 6858000"/>
              <a:gd name="connsiteX49" fmla="*/ 1695077 w 12192000"/>
              <a:gd name="connsiteY49" fmla="*/ 769621 h 6858000"/>
              <a:gd name="connsiteX50" fmla="*/ 1647586 w 12192000"/>
              <a:gd name="connsiteY50" fmla="*/ 769621 h 6858000"/>
              <a:gd name="connsiteX51" fmla="*/ 1611969 w 12192000"/>
              <a:gd name="connsiteY51" fmla="*/ 805520 h 6858000"/>
              <a:gd name="connsiteX52" fmla="*/ 1611969 w 12192000"/>
              <a:gd name="connsiteY52" fmla="*/ 1116628 h 6858000"/>
              <a:gd name="connsiteX53" fmla="*/ 1647586 w 12192000"/>
              <a:gd name="connsiteY53" fmla="*/ 1152526 h 6858000"/>
              <a:gd name="connsiteX54" fmla="*/ 2003778 w 12192000"/>
              <a:gd name="connsiteY54" fmla="*/ 1152526 h 6858000"/>
              <a:gd name="connsiteX55" fmla="*/ 2039395 w 12192000"/>
              <a:gd name="connsiteY55" fmla="*/ 1116628 h 6858000"/>
              <a:gd name="connsiteX56" fmla="*/ 2039395 w 12192000"/>
              <a:gd name="connsiteY56" fmla="*/ 750642 h 6858000"/>
              <a:gd name="connsiteX57" fmla="*/ 2059666 w 12192000"/>
              <a:gd name="connsiteY57" fmla="*/ 742180 h 6858000"/>
              <a:gd name="connsiteX58" fmla="*/ 2456390 w 12192000"/>
              <a:gd name="connsiteY58" fmla="*/ 1142009 h 6858000"/>
              <a:gd name="connsiteX59" fmla="*/ 2481575 w 12192000"/>
              <a:gd name="connsiteY59" fmla="*/ 1152526 h 6858000"/>
              <a:gd name="connsiteX60" fmla="*/ 2811140 w 12192000"/>
              <a:gd name="connsiteY60" fmla="*/ 1152526 h 6858000"/>
              <a:gd name="connsiteX61" fmla="*/ 2846757 w 12192000"/>
              <a:gd name="connsiteY61" fmla="*/ 1116628 h 6858000"/>
              <a:gd name="connsiteX62" fmla="*/ 2846757 w 12192000"/>
              <a:gd name="connsiteY62" fmla="*/ 805520 h 6858000"/>
              <a:gd name="connsiteX63" fmla="*/ 2811140 w 12192000"/>
              <a:gd name="connsiteY63" fmla="*/ 769621 h 6858000"/>
              <a:gd name="connsiteX64" fmla="*/ 2671545 w 12192000"/>
              <a:gd name="connsiteY64" fmla="*/ 769621 h 6858000"/>
              <a:gd name="connsiteX65" fmla="*/ 2646360 w 12192000"/>
              <a:gd name="connsiteY65" fmla="*/ 759104 h 6858000"/>
              <a:gd name="connsiteX66" fmla="*/ 2344614 w 12192000"/>
              <a:gd name="connsiteY66" fmla="*/ 455001 h 6858000"/>
              <a:gd name="connsiteX67" fmla="*/ 2353011 w 12192000"/>
              <a:gd name="connsiteY67" fmla="*/ 434575 h 6858000"/>
              <a:gd name="connsiteX68" fmla="*/ 2668661 w 12192000"/>
              <a:gd name="connsiteY68" fmla="*/ 434575 h 6858000"/>
              <a:gd name="connsiteX69" fmla="*/ 2704283 w 12192000"/>
              <a:gd name="connsiteY69" fmla="*/ 398676 h 6858000"/>
              <a:gd name="connsiteX70" fmla="*/ 2704283 w 12192000"/>
              <a:gd name="connsiteY70" fmla="*/ 231163 h 6858000"/>
              <a:gd name="connsiteX71" fmla="*/ 2668661 w 12192000"/>
              <a:gd name="connsiteY71" fmla="*/ 195264 h 6858000"/>
              <a:gd name="connsiteX72" fmla="*/ 2386593 w 12192000"/>
              <a:gd name="connsiteY72" fmla="*/ 195264 h 6858000"/>
              <a:gd name="connsiteX73" fmla="*/ 2361407 w 12192000"/>
              <a:gd name="connsiteY73" fmla="*/ 205781 h 6858000"/>
              <a:gd name="connsiteX74" fmla="*/ 2059666 w 12192000"/>
              <a:gd name="connsiteY74" fmla="*/ 509884 h 6858000"/>
              <a:gd name="connsiteX75" fmla="*/ 2039395 w 12192000"/>
              <a:gd name="connsiteY75" fmla="*/ 501422 h 6858000"/>
              <a:gd name="connsiteX76" fmla="*/ 2039395 w 12192000"/>
              <a:gd name="connsiteY76" fmla="*/ 231163 h 6858000"/>
              <a:gd name="connsiteX77" fmla="*/ 2003778 w 12192000"/>
              <a:gd name="connsiteY77" fmla="*/ 195264 h 6858000"/>
              <a:gd name="connsiteX78" fmla="*/ 365296 w 12192000"/>
              <a:gd name="connsiteY78" fmla="*/ 195264 h 6858000"/>
              <a:gd name="connsiteX79" fmla="*/ 329674 w 12192000"/>
              <a:gd name="connsiteY79" fmla="*/ 231163 h 6858000"/>
              <a:gd name="connsiteX80" fmla="*/ 329674 w 12192000"/>
              <a:gd name="connsiteY80" fmla="*/ 637997 h 6858000"/>
              <a:gd name="connsiteX81" fmla="*/ 365296 w 12192000"/>
              <a:gd name="connsiteY81" fmla="*/ 673895 h 6858000"/>
              <a:gd name="connsiteX82" fmla="*/ 982693 w 12192000"/>
              <a:gd name="connsiteY82" fmla="*/ 673895 h 6858000"/>
              <a:gd name="connsiteX83" fmla="*/ 994567 w 12192000"/>
              <a:gd name="connsiteY83" fmla="*/ 685860 h 6858000"/>
              <a:gd name="connsiteX84" fmla="*/ 994567 w 12192000"/>
              <a:gd name="connsiteY84" fmla="*/ 996972 h 6858000"/>
              <a:gd name="connsiteX85" fmla="*/ 982693 w 12192000"/>
              <a:gd name="connsiteY85" fmla="*/ 1008937 h 6858000"/>
              <a:gd name="connsiteX86" fmla="*/ 626501 w 12192000"/>
              <a:gd name="connsiteY86" fmla="*/ 1008937 h 6858000"/>
              <a:gd name="connsiteX87" fmla="*/ 614627 w 12192000"/>
              <a:gd name="connsiteY87" fmla="*/ 996972 h 6858000"/>
              <a:gd name="connsiteX88" fmla="*/ 614627 w 12192000"/>
              <a:gd name="connsiteY88" fmla="*/ 805520 h 6858000"/>
              <a:gd name="connsiteX89" fmla="*/ 579010 w 12192000"/>
              <a:gd name="connsiteY89" fmla="*/ 769621 h 6858000"/>
              <a:gd name="connsiteX90" fmla="*/ 222817 w 12192000"/>
              <a:gd name="connsiteY90" fmla="*/ 769621 h 6858000"/>
              <a:gd name="connsiteX91" fmla="*/ 187200 w 12192000"/>
              <a:gd name="connsiteY91" fmla="*/ 805520 h 6858000"/>
              <a:gd name="connsiteX92" fmla="*/ 187200 w 12192000"/>
              <a:gd name="connsiteY92" fmla="*/ 1116628 h 6858000"/>
              <a:gd name="connsiteX93" fmla="*/ 222817 w 12192000"/>
              <a:gd name="connsiteY93" fmla="*/ 1152526 h 6858000"/>
              <a:gd name="connsiteX94" fmla="*/ 1386376 w 12192000"/>
              <a:gd name="connsiteY94" fmla="*/ 1152526 h 6858000"/>
              <a:gd name="connsiteX95" fmla="*/ 1421994 w 12192000"/>
              <a:gd name="connsiteY95" fmla="*/ 1116628 h 6858000"/>
              <a:gd name="connsiteX96" fmla="*/ 1421994 w 12192000"/>
              <a:gd name="connsiteY96" fmla="*/ 566204 h 6858000"/>
              <a:gd name="connsiteX97" fmla="*/ 1386376 w 12192000"/>
              <a:gd name="connsiteY97" fmla="*/ 530306 h 6858000"/>
              <a:gd name="connsiteX98" fmla="*/ 673992 w 12192000"/>
              <a:gd name="connsiteY98" fmla="*/ 530306 h 6858000"/>
              <a:gd name="connsiteX99" fmla="*/ 662123 w 12192000"/>
              <a:gd name="connsiteY99" fmla="*/ 518341 h 6858000"/>
              <a:gd name="connsiteX100" fmla="*/ 662123 w 12192000"/>
              <a:gd name="connsiteY100" fmla="*/ 350818 h 6858000"/>
              <a:gd name="connsiteX101" fmla="*/ 673992 w 12192000"/>
              <a:gd name="connsiteY101" fmla="*/ 338853 h 6858000"/>
              <a:gd name="connsiteX102" fmla="*/ 935202 w 12192000"/>
              <a:gd name="connsiteY102" fmla="*/ 338853 h 6858000"/>
              <a:gd name="connsiteX103" fmla="*/ 947076 w 12192000"/>
              <a:gd name="connsiteY103" fmla="*/ 350813 h 6858000"/>
              <a:gd name="connsiteX104" fmla="*/ 947076 w 12192000"/>
              <a:gd name="connsiteY104" fmla="*/ 398681 h 6858000"/>
              <a:gd name="connsiteX105" fmla="*/ 982693 w 12192000"/>
              <a:gd name="connsiteY105" fmla="*/ 434580 h 6858000"/>
              <a:gd name="connsiteX106" fmla="*/ 1243897 w 12192000"/>
              <a:gd name="connsiteY106" fmla="*/ 434580 h 6858000"/>
              <a:gd name="connsiteX107" fmla="*/ 1279520 w 12192000"/>
              <a:gd name="connsiteY107" fmla="*/ 398681 h 6858000"/>
              <a:gd name="connsiteX108" fmla="*/ 1279520 w 12192000"/>
              <a:gd name="connsiteY108" fmla="*/ 231163 h 6858000"/>
              <a:gd name="connsiteX109" fmla="*/ 1243897 w 12192000"/>
              <a:gd name="connsiteY109" fmla="*/ 195264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3072344" y="195264"/>
                </a:moveTo>
                <a:cubicBezTo>
                  <a:pt x="3052676" y="195264"/>
                  <a:pt x="3036727" y="211334"/>
                  <a:pt x="3036727" y="231163"/>
                </a:cubicBezTo>
                <a:lnTo>
                  <a:pt x="3036727" y="398681"/>
                </a:lnTo>
                <a:cubicBezTo>
                  <a:pt x="3036727" y="418510"/>
                  <a:pt x="3052676" y="434580"/>
                  <a:pt x="3072344" y="434580"/>
                </a:cubicBezTo>
                <a:lnTo>
                  <a:pt x="3119835" y="434580"/>
                </a:lnTo>
                <a:cubicBezTo>
                  <a:pt x="3126398" y="434580"/>
                  <a:pt x="3131710" y="439936"/>
                  <a:pt x="3131710" y="446544"/>
                </a:cubicBezTo>
                <a:lnTo>
                  <a:pt x="3131710" y="757657"/>
                </a:lnTo>
                <a:cubicBezTo>
                  <a:pt x="3131710" y="764265"/>
                  <a:pt x="3126398" y="769621"/>
                  <a:pt x="3119835" y="769621"/>
                </a:cubicBezTo>
                <a:lnTo>
                  <a:pt x="3072344" y="769621"/>
                </a:lnTo>
                <a:cubicBezTo>
                  <a:pt x="3052676" y="769621"/>
                  <a:pt x="3036727" y="785696"/>
                  <a:pt x="3036727" y="805520"/>
                </a:cubicBezTo>
                <a:lnTo>
                  <a:pt x="3036727" y="1116628"/>
                </a:lnTo>
                <a:cubicBezTo>
                  <a:pt x="3036727" y="1136456"/>
                  <a:pt x="3052676" y="1152526"/>
                  <a:pt x="3072344" y="1152526"/>
                </a:cubicBezTo>
                <a:lnTo>
                  <a:pt x="3523519" y="1152526"/>
                </a:lnTo>
                <a:cubicBezTo>
                  <a:pt x="3543192" y="1152526"/>
                  <a:pt x="3559141" y="1136456"/>
                  <a:pt x="3559141" y="1116628"/>
                </a:cubicBezTo>
                <a:lnTo>
                  <a:pt x="3559141" y="805520"/>
                </a:lnTo>
                <a:cubicBezTo>
                  <a:pt x="3559141" y="785696"/>
                  <a:pt x="3543192" y="769621"/>
                  <a:pt x="3523519" y="769621"/>
                </a:cubicBezTo>
                <a:lnTo>
                  <a:pt x="3476028" y="769621"/>
                </a:lnTo>
                <a:cubicBezTo>
                  <a:pt x="3469470" y="769621"/>
                  <a:pt x="3464154" y="764265"/>
                  <a:pt x="3464154" y="757657"/>
                </a:cubicBezTo>
                <a:lnTo>
                  <a:pt x="3464154" y="685860"/>
                </a:lnTo>
                <a:cubicBezTo>
                  <a:pt x="3464154" y="679252"/>
                  <a:pt x="3469470" y="673895"/>
                  <a:pt x="3476028" y="673895"/>
                </a:cubicBezTo>
                <a:lnTo>
                  <a:pt x="3594758" y="673895"/>
                </a:lnTo>
                <a:cubicBezTo>
                  <a:pt x="3601226" y="673895"/>
                  <a:pt x="3606678" y="679071"/>
                  <a:pt x="3606632" y="685588"/>
                </a:cubicBezTo>
                <a:cubicBezTo>
                  <a:pt x="3606481" y="705532"/>
                  <a:pt x="3622486" y="721758"/>
                  <a:pt x="3642250" y="721758"/>
                </a:cubicBezTo>
                <a:lnTo>
                  <a:pt x="3903459" y="721758"/>
                </a:lnTo>
                <a:cubicBezTo>
                  <a:pt x="3923127" y="721758"/>
                  <a:pt x="3939076" y="705688"/>
                  <a:pt x="3939076" y="685860"/>
                </a:cubicBezTo>
                <a:lnTo>
                  <a:pt x="3939076" y="518341"/>
                </a:lnTo>
                <a:cubicBezTo>
                  <a:pt x="3939076" y="498513"/>
                  <a:pt x="3923127" y="482443"/>
                  <a:pt x="3903459" y="482443"/>
                </a:cubicBezTo>
                <a:lnTo>
                  <a:pt x="3642250" y="482443"/>
                </a:lnTo>
                <a:cubicBezTo>
                  <a:pt x="3622486" y="482443"/>
                  <a:pt x="3606481" y="498663"/>
                  <a:pt x="3606632" y="518613"/>
                </a:cubicBezTo>
                <a:cubicBezTo>
                  <a:pt x="3606678" y="525130"/>
                  <a:pt x="3601226" y="530306"/>
                  <a:pt x="3594758" y="530306"/>
                </a:cubicBezTo>
                <a:lnTo>
                  <a:pt x="3476028" y="530306"/>
                </a:lnTo>
                <a:cubicBezTo>
                  <a:pt x="3469470" y="530306"/>
                  <a:pt x="3464154" y="524949"/>
                  <a:pt x="3464154" y="518341"/>
                </a:cubicBezTo>
                <a:lnTo>
                  <a:pt x="3464154" y="350818"/>
                </a:lnTo>
                <a:cubicBezTo>
                  <a:pt x="3464154" y="344210"/>
                  <a:pt x="3469470" y="338853"/>
                  <a:pt x="3476028" y="338853"/>
                </a:cubicBezTo>
                <a:lnTo>
                  <a:pt x="3832220" y="338853"/>
                </a:lnTo>
                <a:cubicBezTo>
                  <a:pt x="3838777" y="338853"/>
                  <a:pt x="3844094" y="344210"/>
                  <a:pt x="3844094" y="350818"/>
                </a:cubicBezTo>
                <a:lnTo>
                  <a:pt x="3844094" y="398681"/>
                </a:lnTo>
                <a:cubicBezTo>
                  <a:pt x="3844094" y="418510"/>
                  <a:pt x="3860038" y="434580"/>
                  <a:pt x="3879711" y="434580"/>
                </a:cubicBezTo>
                <a:lnTo>
                  <a:pt x="4235903" y="434580"/>
                </a:lnTo>
                <a:cubicBezTo>
                  <a:pt x="4255571" y="434580"/>
                  <a:pt x="4271520" y="418510"/>
                  <a:pt x="4271520" y="398681"/>
                </a:cubicBezTo>
                <a:lnTo>
                  <a:pt x="4271520" y="231163"/>
                </a:lnTo>
                <a:cubicBezTo>
                  <a:pt x="4271520" y="211334"/>
                  <a:pt x="4255571" y="195264"/>
                  <a:pt x="4235903" y="195264"/>
                </a:cubicBezTo>
                <a:close/>
                <a:moveTo>
                  <a:pt x="1647586" y="195264"/>
                </a:moveTo>
                <a:cubicBezTo>
                  <a:pt x="1627918" y="195264"/>
                  <a:pt x="1611969" y="211334"/>
                  <a:pt x="1611969" y="231163"/>
                </a:cubicBezTo>
                <a:lnTo>
                  <a:pt x="1611969" y="398681"/>
                </a:lnTo>
                <a:cubicBezTo>
                  <a:pt x="1611969" y="418510"/>
                  <a:pt x="1627918" y="434580"/>
                  <a:pt x="1647586" y="434580"/>
                </a:cubicBezTo>
                <a:lnTo>
                  <a:pt x="1695077" y="434580"/>
                </a:lnTo>
                <a:cubicBezTo>
                  <a:pt x="1701640" y="434580"/>
                  <a:pt x="1706951" y="439936"/>
                  <a:pt x="1706951" y="446544"/>
                </a:cubicBezTo>
                <a:lnTo>
                  <a:pt x="1706951" y="757657"/>
                </a:lnTo>
                <a:cubicBezTo>
                  <a:pt x="1706951" y="764265"/>
                  <a:pt x="1701640" y="769621"/>
                  <a:pt x="1695077" y="769621"/>
                </a:cubicBezTo>
                <a:lnTo>
                  <a:pt x="1647586" y="769621"/>
                </a:lnTo>
                <a:cubicBezTo>
                  <a:pt x="1627918" y="769621"/>
                  <a:pt x="1611969" y="785696"/>
                  <a:pt x="1611969" y="805520"/>
                </a:cubicBezTo>
                <a:lnTo>
                  <a:pt x="1611969" y="1116628"/>
                </a:lnTo>
                <a:cubicBezTo>
                  <a:pt x="1611969" y="1136456"/>
                  <a:pt x="1627918" y="1152521"/>
                  <a:pt x="1647586" y="1152526"/>
                </a:cubicBezTo>
                <a:lnTo>
                  <a:pt x="2003778" y="1152526"/>
                </a:lnTo>
                <a:cubicBezTo>
                  <a:pt x="2023451" y="1152526"/>
                  <a:pt x="2039395" y="1136456"/>
                  <a:pt x="2039395" y="1116628"/>
                </a:cubicBezTo>
                <a:lnTo>
                  <a:pt x="2039395" y="750642"/>
                </a:lnTo>
                <a:cubicBezTo>
                  <a:pt x="2039395" y="739984"/>
                  <a:pt x="2052189" y="734642"/>
                  <a:pt x="2059666" y="742180"/>
                </a:cubicBezTo>
                <a:lnTo>
                  <a:pt x="2456390" y="1142009"/>
                </a:lnTo>
                <a:cubicBezTo>
                  <a:pt x="2463068" y="1148742"/>
                  <a:pt x="2472128" y="1152526"/>
                  <a:pt x="2481575" y="1152526"/>
                </a:cubicBezTo>
                <a:lnTo>
                  <a:pt x="2811140" y="1152526"/>
                </a:lnTo>
                <a:cubicBezTo>
                  <a:pt x="2830808" y="1152526"/>
                  <a:pt x="2846757" y="1136456"/>
                  <a:pt x="2846757" y="1116628"/>
                </a:cubicBezTo>
                <a:lnTo>
                  <a:pt x="2846757" y="805520"/>
                </a:lnTo>
                <a:cubicBezTo>
                  <a:pt x="2846757" y="785696"/>
                  <a:pt x="2830808" y="769621"/>
                  <a:pt x="2811140" y="769621"/>
                </a:cubicBezTo>
                <a:lnTo>
                  <a:pt x="2671545" y="769621"/>
                </a:lnTo>
                <a:cubicBezTo>
                  <a:pt x="2662098" y="769621"/>
                  <a:pt x="2653038" y="765843"/>
                  <a:pt x="2646360" y="759104"/>
                </a:cubicBezTo>
                <a:lnTo>
                  <a:pt x="2344614" y="455001"/>
                </a:lnTo>
                <a:cubicBezTo>
                  <a:pt x="2337137" y="447464"/>
                  <a:pt x="2342428" y="434575"/>
                  <a:pt x="2353011" y="434575"/>
                </a:cubicBezTo>
                <a:lnTo>
                  <a:pt x="2668661" y="434575"/>
                </a:lnTo>
                <a:cubicBezTo>
                  <a:pt x="2688334" y="434575"/>
                  <a:pt x="2704283" y="418505"/>
                  <a:pt x="2704283" y="398676"/>
                </a:cubicBezTo>
                <a:lnTo>
                  <a:pt x="2704283" y="231163"/>
                </a:lnTo>
                <a:cubicBezTo>
                  <a:pt x="2704283" y="211334"/>
                  <a:pt x="2688334" y="195264"/>
                  <a:pt x="2668661" y="195264"/>
                </a:cubicBezTo>
                <a:lnTo>
                  <a:pt x="2386593" y="195264"/>
                </a:lnTo>
                <a:cubicBezTo>
                  <a:pt x="2377146" y="195264"/>
                  <a:pt x="2368086" y="199043"/>
                  <a:pt x="2361407" y="205781"/>
                </a:cubicBezTo>
                <a:lnTo>
                  <a:pt x="2059666" y="509884"/>
                </a:lnTo>
                <a:cubicBezTo>
                  <a:pt x="2052189" y="517422"/>
                  <a:pt x="2039395" y="512085"/>
                  <a:pt x="2039395" y="501422"/>
                </a:cubicBezTo>
                <a:lnTo>
                  <a:pt x="2039395" y="231163"/>
                </a:lnTo>
                <a:cubicBezTo>
                  <a:pt x="2039395" y="211334"/>
                  <a:pt x="2023451" y="195264"/>
                  <a:pt x="2003778" y="195264"/>
                </a:cubicBezTo>
                <a:close/>
                <a:moveTo>
                  <a:pt x="365296" y="195264"/>
                </a:moveTo>
                <a:cubicBezTo>
                  <a:pt x="345623" y="195264"/>
                  <a:pt x="329674" y="211334"/>
                  <a:pt x="329674" y="231163"/>
                </a:cubicBezTo>
                <a:lnTo>
                  <a:pt x="329674" y="637997"/>
                </a:lnTo>
                <a:cubicBezTo>
                  <a:pt x="329674" y="657825"/>
                  <a:pt x="345623" y="673895"/>
                  <a:pt x="365296" y="673895"/>
                </a:cubicBezTo>
                <a:lnTo>
                  <a:pt x="982693" y="673895"/>
                </a:lnTo>
                <a:cubicBezTo>
                  <a:pt x="989251" y="673895"/>
                  <a:pt x="994567" y="679252"/>
                  <a:pt x="994567" y="685860"/>
                </a:cubicBezTo>
                <a:lnTo>
                  <a:pt x="994567" y="996972"/>
                </a:lnTo>
                <a:cubicBezTo>
                  <a:pt x="994567" y="1003580"/>
                  <a:pt x="989251" y="1008937"/>
                  <a:pt x="982693" y="1008937"/>
                </a:cubicBezTo>
                <a:lnTo>
                  <a:pt x="626501" y="1008937"/>
                </a:lnTo>
                <a:cubicBezTo>
                  <a:pt x="619943" y="1008937"/>
                  <a:pt x="614627" y="1003580"/>
                  <a:pt x="614627" y="996972"/>
                </a:cubicBezTo>
                <a:lnTo>
                  <a:pt x="614627" y="805520"/>
                </a:lnTo>
                <a:cubicBezTo>
                  <a:pt x="614627" y="785696"/>
                  <a:pt x="598682" y="769621"/>
                  <a:pt x="579010" y="769621"/>
                </a:cubicBezTo>
                <a:lnTo>
                  <a:pt x="222817" y="769621"/>
                </a:lnTo>
                <a:cubicBezTo>
                  <a:pt x="203149" y="769621"/>
                  <a:pt x="187200" y="785696"/>
                  <a:pt x="187200" y="805520"/>
                </a:cubicBezTo>
                <a:lnTo>
                  <a:pt x="187200" y="1116628"/>
                </a:lnTo>
                <a:cubicBezTo>
                  <a:pt x="187200" y="1136456"/>
                  <a:pt x="203149" y="1152526"/>
                  <a:pt x="222817" y="1152526"/>
                </a:cubicBezTo>
                <a:lnTo>
                  <a:pt x="1386376" y="1152526"/>
                </a:lnTo>
                <a:cubicBezTo>
                  <a:pt x="1406049" y="1152526"/>
                  <a:pt x="1421994" y="1136456"/>
                  <a:pt x="1421994" y="1116628"/>
                </a:cubicBezTo>
                <a:lnTo>
                  <a:pt x="1421994" y="566204"/>
                </a:lnTo>
                <a:cubicBezTo>
                  <a:pt x="1421994" y="546381"/>
                  <a:pt x="1406049" y="530306"/>
                  <a:pt x="1386376" y="530306"/>
                </a:cubicBezTo>
                <a:lnTo>
                  <a:pt x="673992" y="530306"/>
                </a:lnTo>
                <a:cubicBezTo>
                  <a:pt x="667434" y="530306"/>
                  <a:pt x="662123" y="524949"/>
                  <a:pt x="662123" y="518341"/>
                </a:cubicBezTo>
                <a:lnTo>
                  <a:pt x="662123" y="350818"/>
                </a:lnTo>
                <a:cubicBezTo>
                  <a:pt x="662123" y="344210"/>
                  <a:pt x="667434" y="338853"/>
                  <a:pt x="673992" y="338853"/>
                </a:cubicBezTo>
                <a:lnTo>
                  <a:pt x="935202" y="338853"/>
                </a:lnTo>
                <a:cubicBezTo>
                  <a:pt x="941759" y="338848"/>
                  <a:pt x="947076" y="344205"/>
                  <a:pt x="947076" y="350813"/>
                </a:cubicBezTo>
                <a:lnTo>
                  <a:pt x="947076" y="398681"/>
                </a:lnTo>
                <a:cubicBezTo>
                  <a:pt x="947076" y="418510"/>
                  <a:pt x="963020" y="434580"/>
                  <a:pt x="982693" y="434580"/>
                </a:cubicBezTo>
                <a:lnTo>
                  <a:pt x="1243897" y="434580"/>
                </a:lnTo>
                <a:cubicBezTo>
                  <a:pt x="1263570" y="434580"/>
                  <a:pt x="1279520" y="418510"/>
                  <a:pt x="1279520" y="398681"/>
                </a:cubicBezTo>
                <a:lnTo>
                  <a:pt x="1279520" y="231163"/>
                </a:lnTo>
                <a:cubicBezTo>
                  <a:pt x="1279520" y="211334"/>
                  <a:pt x="1263570" y="195264"/>
                  <a:pt x="1243897" y="19526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tIns="0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64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193675" y="2398712"/>
            <a:ext cx="11803063" cy="426243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161212" y="1296989"/>
            <a:ext cx="4835525" cy="957262"/>
          </a:xfrm>
        </p:spPr>
        <p:txBody>
          <a:bodyPr/>
          <a:lstStyle>
            <a:lvl1pPr marL="0" indent="0" algn="r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 of product in one to two lines of text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016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A82E358-0027-1905-DA94-934033F0BDE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176713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93675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93675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C5FBAB6-BF4E-95B8-1024-898EAEBFAF5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193675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626D867-52FA-EF99-0C70-346906945D5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1"/>
            </p:custDataLst>
          </p:nvPr>
        </p:nvSpPr>
        <p:spPr>
          <a:xfrm>
            <a:off x="193675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2"/>
            </p:custDataLst>
          </p:nvPr>
        </p:nvSpPr>
        <p:spPr>
          <a:xfrm>
            <a:off x="4176713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176713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34B067E-C73E-9E34-13BA-CABBB966CD6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6713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97026D-5492-E89E-197B-3F6D343E6EF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5"/>
            </p:custDataLst>
          </p:nvPr>
        </p:nvSpPr>
        <p:spPr>
          <a:xfrm>
            <a:off x="4176713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6"/>
            </p:custDataLst>
          </p:nvPr>
        </p:nvSpPr>
        <p:spPr>
          <a:xfrm>
            <a:off x="8158161" y="3500439"/>
            <a:ext cx="2843213" cy="1101724"/>
          </a:xfrm>
        </p:spPr>
        <p:txBody>
          <a:bodyPr wrap="none" lIns="0" tIns="216000" bIns="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7"/>
            </p:custDataLst>
          </p:nvPr>
        </p:nvSpPr>
        <p:spPr>
          <a:xfrm>
            <a:off x="8158161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9BE211C0-5F3F-E4BF-87CC-DCFF1B630F71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8"/>
            </p:custDataLst>
          </p:nvPr>
        </p:nvSpPr>
        <p:spPr>
          <a:xfrm>
            <a:off x="8158161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077BE7BD-8B00-5D23-09C1-E5F4FB7494D9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9"/>
            </p:custDataLst>
          </p:nvPr>
        </p:nvSpPr>
        <p:spPr>
          <a:xfrm>
            <a:off x="8158161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557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umber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A82E358-0027-1905-DA94-934033F0BDE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176713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30B22C2-0F1E-2EE2-A791-A3E51799DF2B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93675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30D5E0-389F-E994-6516-ED614917895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93675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295DCF-0773-5E6E-0661-5C41FD44AD0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193675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A7C7090-5384-C792-8672-1F50BB01F61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1"/>
            </p:custDataLst>
          </p:nvPr>
        </p:nvSpPr>
        <p:spPr>
          <a:xfrm>
            <a:off x="193675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E6CF6F9-E700-2689-5D86-B09E02778A2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2"/>
            </p:custDataLst>
          </p:nvPr>
        </p:nvSpPr>
        <p:spPr>
          <a:xfrm>
            <a:off x="4176713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6C09F3C-3D3D-92ED-A4F1-4367F81AEA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176713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03742604-5927-93D2-6CDC-60A7981624BA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6713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B5F1520-649C-7C33-8FD6-41DA86E5A9D3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5"/>
            </p:custDataLst>
          </p:nvPr>
        </p:nvSpPr>
        <p:spPr>
          <a:xfrm>
            <a:off x="4176713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4524072-0982-6DB6-0CBF-925B8DC32D7F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6"/>
            </p:custDataLst>
          </p:nvPr>
        </p:nvSpPr>
        <p:spPr>
          <a:xfrm>
            <a:off x="8158161" y="3500439"/>
            <a:ext cx="2843213" cy="1101724"/>
          </a:xfrm>
        </p:spPr>
        <p:txBody>
          <a:bodyPr wrap="none" lIns="0" tIns="216000" bIns="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D17D27B-7201-1317-034C-647A9399D164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7"/>
            </p:custDataLst>
          </p:nvPr>
        </p:nvSpPr>
        <p:spPr>
          <a:xfrm>
            <a:off x="8158161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3602094-9733-A1B7-B67F-B8518BF5BC2D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8"/>
            </p:custDataLst>
          </p:nvPr>
        </p:nvSpPr>
        <p:spPr>
          <a:xfrm>
            <a:off x="8158161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207E59C-8AA6-8D72-835C-0ACB9033A6BC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9"/>
            </p:custDataLst>
          </p:nvPr>
        </p:nvSpPr>
        <p:spPr>
          <a:xfrm>
            <a:off x="8158161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551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2C8262B-363A-D268-3DE4-A51DE448DB7D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"/>
            </p:custDataLst>
          </p:nvPr>
        </p:nvSpPr>
        <p:spPr>
          <a:xfrm>
            <a:off x="4175919" y="3500439"/>
            <a:ext cx="3841200" cy="3160800"/>
          </a:xfrm>
          <a:solidFill>
            <a:srgbClr val="EDEDED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latin typeface="+mj-lt"/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13C2CF-FBF5-FE91-FF1F-B464890CB7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156577" y="3500439"/>
            <a:ext cx="3840161" cy="316071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1200"/>
              </a:spcBef>
            </a:pP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94BCCB-FAF6-9578-898D-1CCD8210D034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8156577" y="3500439"/>
            <a:ext cx="3841200" cy="3160712"/>
          </a:xfrm>
          <a:solidFill>
            <a:srgbClr val="EDEDED"/>
          </a:solidFill>
        </p:spPr>
        <p:txBody>
          <a:bodyPr vert="horz" lIns="162000" tIns="414000" rIns="0" bIns="0" rtlCol="0">
            <a:noAutofit/>
          </a:bodyPr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lang="en-GB" sz="6000" smtClean="0">
                <a:latin typeface="+mj-lt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/>
            </a:lvl5pPr>
          </a:lstStyle>
          <a:p>
            <a:pPr marL="176400" lvl="0" indent="-176400"/>
            <a:r>
              <a:rPr lang="en-GB" dirty="0"/>
              <a:t>XX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347B9DA-55BE-62A3-3E4E-656DC4C1117F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4"/>
            </p:custDataLst>
          </p:nvPr>
        </p:nvSpPr>
        <p:spPr>
          <a:xfrm>
            <a:off x="193674" y="3500438"/>
            <a:ext cx="3841200" cy="3160712"/>
          </a:xfrm>
          <a:solidFill>
            <a:srgbClr val="EDEDED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79"/>
              </a:spcBef>
              <a:buNone/>
              <a:defRPr sz="6000">
                <a:latin typeface="+mj-lt"/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9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356235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1"/>
            </p:custDataLst>
          </p:nvPr>
        </p:nvSpPr>
        <p:spPr>
          <a:xfrm>
            <a:off x="4339273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2"/>
            </p:custDataLst>
          </p:nvPr>
        </p:nvSpPr>
        <p:spPr>
          <a:xfrm>
            <a:off x="8320721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801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oxes with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56FF18E9-A82B-AEFC-FCB2-435472B93962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5F2D09-EE71-5B56-1F25-6AE17FFDE0C2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192086" y="350043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FF39447-1039-9B73-3531-C92A7A54C0E4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3"/>
            </p:custDataLst>
          </p:nvPr>
        </p:nvSpPr>
        <p:spPr>
          <a:xfrm>
            <a:off x="4175919" y="350043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4109CF4-EE80-18E4-E106-DE172C0E2E1C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4"/>
            </p:custDataLst>
          </p:nvPr>
        </p:nvSpPr>
        <p:spPr>
          <a:xfrm>
            <a:off x="8156577" y="350034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56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3564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3564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9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356235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1"/>
            </p:custDataLst>
          </p:nvPr>
        </p:nvSpPr>
        <p:spPr>
          <a:xfrm>
            <a:off x="4339273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2"/>
            </p:custDataLst>
          </p:nvPr>
        </p:nvSpPr>
        <p:spPr>
          <a:xfrm>
            <a:off x="8320721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476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4330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7"/>
            </p:custDataLst>
          </p:nvPr>
        </p:nvSpPr>
        <p:spPr>
          <a:xfrm>
            <a:off x="192086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8"/>
            </p:custDataLst>
          </p:nvPr>
        </p:nvSpPr>
        <p:spPr>
          <a:xfrm>
            <a:off x="8156575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193675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4175919" y="4602163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175919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8158163" y="4602163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8158163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3B19F7-45F1-9E12-16D4-069C35CB260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192088" y="4600800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404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78705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2088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4400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9"/>
            </p:custDataLst>
          </p:nvPr>
        </p:nvSpPr>
        <p:spPr>
          <a:xfrm>
            <a:off x="6165322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0"/>
            </p:custDataLst>
          </p:nvPr>
        </p:nvSpPr>
        <p:spPr>
          <a:xfrm>
            <a:off x="192088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1"/>
            </p:custDataLst>
          </p:nvPr>
        </p:nvSpPr>
        <p:spPr>
          <a:xfrm>
            <a:off x="3179234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2"/>
            </p:custDataLst>
          </p:nvPr>
        </p:nvSpPr>
        <p:spPr>
          <a:xfrm>
            <a:off x="3179234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3"/>
            </p:custDataLst>
          </p:nvPr>
        </p:nvSpPr>
        <p:spPr>
          <a:xfrm>
            <a:off x="6166380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4"/>
            </p:custDataLst>
          </p:nvPr>
        </p:nvSpPr>
        <p:spPr>
          <a:xfrm>
            <a:off x="6166380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5"/>
            </p:custDataLst>
          </p:nvPr>
        </p:nvSpPr>
        <p:spPr>
          <a:xfrm>
            <a:off x="9151938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20559CE-27A4-DAB5-E547-FD4B1DE338DE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6"/>
            </p:custDataLst>
          </p:nvPr>
        </p:nvSpPr>
        <p:spPr>
          <a:xfrm>
            <a:off x="9153525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7"/>
            </p:custDataLst>
          </p:nvPr>
        </p:nvSpPr>
        <p:spPr>
          <a:xfrm>
            <a:off x="9153525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089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2185298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367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4400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9"/>
            </p:custDataLst>
          </p:nvPr>
        </p:nvSpPr>
        <p:spPr>
          <a:xfrm>
            <a:off x="4176196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0"/>
            </p:custDataLst>
          </p:nvPr>
        </p:nvSpPr>
        <p:spPr>
          <a:xfrm>
            <a:off x="19367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1"/>
            </p:custDataLst>
          </p:nvPr>
        </p:nvSpPr>
        <p:spPr>
          <a:xfrm>
            <a:off x="218503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2"/>
            </p:custDataLst>
          </p:nvPr>
        </p:nvSpPr>
        <p:spPr>
          <a:xfrm>
            <a:off x="218503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3"/>
            </p:custDataLst>
          </p:nvPr>
        </p:nvSpPr>
        <p:spPr>
          <a:xfrm>
            <a:off x="417639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4"/>
            </p:custDataLst>
          </p:nvPr>
        </p:nvSpPr>
        <p:spPr>
          <a:xfrm>
            <a:off x="417639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5"/>
            </p:custDataLst>
          </p:nvPr>
        </p:nvSpPr>
        <p:spPr>
          <a:xfrm>
            <a:off x="6167094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20559CE-27A4-DAB5-E547-FD4B1DE338DE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6"/>
            </p:custDataLst>
          </p:nvPr>
        </p:nvSpPr>
        <p:spPr>
          <a:xfrm>
            <a:off x="616775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7"/>
            </p:custDataLst>
          </p:nvPr>
        </p:nvSpPr>
        <p:spPr>
          <a:xfrm>
            <a:off x="616775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379E07A-731B-40E4-2DEF-558CBF37AAC0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8"/>
            </p:custDataLst>
          </p:nvPr>
        </p:nvSpPr>
        <p:spPr>
          <a:xfrm>
            <a:off x="8157992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93AC187-70EC-34C9-C1B5-C99554DCD2EC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9"/>
            </p:custDataLst>
          </p:nvPr>
        </p:nvSpPr>
        <p:spPr>
          <a:xfrm>
            <a:off x="815911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F9B488D-EB91-4DDE-DF26-27EF633D629D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20"/>
            </p:custDataLst>
          </p:nvPr>
        </p:nvSpPr>
        <p:spPr>
          <a:xfrm>
            <a:off x="815911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7AE129A5-D47D-8021-3F96-21562B8F9528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21"/>
            </p:custDataLst>
          </p:nvPr>
        </p:nvSpPr>
        <p:spPr>
          <a:xfrm>
            <a:off x="10148888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B220BBD-67E8-2322-A7BA-57B30889073F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22"/>
            </p:custDataLst>
          </p:nvPr>
        </p:nvSpPr>
        <p:spPr>
          <a:xfrm>
            <a:off x="1015047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0E36FFD-E526-FC11-B2C6-900D02FB3AC2}"/>
              </a:ext>
            </a:extLst>
          </p:cNvPr>
          <p:cNvSpPr>
            <a:spLocks noGrp="1"/>
          </p:cNvSpPr>
          <p:nvPr>
            <p:ph type="body" sz="quarter" idx="31"/>
            <p:custDataLst>
              <p:tags r:id="rId23"/>
            </p:custDataLst>
          </p:nvPr>
        </p:nvSpPr>
        <p:spPr>
          <a:xfrm>
            <a:off x="1015047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696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383857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176713" y="3148827"/>
            <a:ext cx="3836987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176157" y="4968000"/>
            <a:ext cx="383698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8158163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8158163" y="4968000"/>
            <a:ext cx="3836429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4176157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815760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448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383857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178300" y="3148827"/>
            <a:ext cx="3836987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176157" y="4968000"/>
            <a:ext cx="383698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8158163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8158163" y="4968000"/>
            <a:ext cx="3836429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4176157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815760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274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white"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white"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 bwMode="white"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 bwMode="white"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 bwMode="white"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6B235CD-31E9-A08E-45AB-6F7FBF8FA39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93676" y="196850"/>
            <a:ext cx="854075" cy="200174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060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284321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180684" y="3148827"/>
            <a:ext cx="284203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181214" y="4968000"/>
            <a:ext cx="284203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6166517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6167577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3180106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616653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915352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9153525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915296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056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284321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179763" y="3148827"/>
            <a:ext cx="284203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177620" y="4968000"/>
            <a:ext cx="284203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6170762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6170762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3177620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6170204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915352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9153525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915296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1588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6" y="4968000"/>
            <a:ext cx="1847850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2184983" y="3148827"/>
            <a:ext cx="1847086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2185602" y="4968000"/>
            <a:ext cx="1847086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417552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4176764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6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218471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5760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6166833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6167657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616680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34F135-6BD8-EF71-97EF-BB633FDBAAAF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18"/>
            </p:custDataLst>
          </p:nvPr>
        </p:nvSpPr>
        <p:spPr>
          <a:xfrm>
            <a:off x="815814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5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9A4D428-BCB6-77E4-60CF-42850E702343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19"/>
            </p:custDataLst>
          </p:nvPr>
        </p:nvSpPr>
        <p:spPr>
          <a:xfrm>
            <a:off x="8158550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B46297-2251-C7E7-6FA4-2CE1529BA337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20"/>
            </p:custDataLst>
          </p:nvPr>
        </p:nvSpPr>
        <p:spPr>
          <a:xfrm>
            <a:off x="8157844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54F9E36-20DF-219E-5BDD-DF0CE485BA1F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1014944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6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E0F95DB-788E-E2B7-76E8-5E66D1408EE5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2"/>
            </p:custDataLst>
          </p:nvPr>
        </p:nvSpPr>
        <p:spPr>
          <a:xfrm>
            <a:off x="10149445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F9184EF-9862-955A-8DE5-8A21FF1B18AA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23"/>
            </p:custDataLst>
          </p:nvPr>
        </p:nvSpPr>
        <p:spPr>
          <a:xfrm>
            <a:off x="1014888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76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6" y="4968000"/>
            <a:ext cx="1847850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2186543" y="3148827"/>
            <a:ext cx="1847086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2184400" y="4968000"/>
            <a:ext cx="1847086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417436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4174359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6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2184400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380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617035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6170349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616979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34F135-6BD8-EF71-97EF-BB633FDBAAAF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18"/>
            </p:custDataLst>
          </p:nvPr>
        </p:nvSpPr>
        <p:spPr>
          <a:xfrm>
            <a:off x="8157607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5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9A4D428-BCB6-77E4-60CF-42850E702343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19"/>
            </p:custDataLst>
          </p:nvPr>
        </p:nvSpPr>
        <p:spPr>
          <a:xfrm>
            <a:off x="8157606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B46297-2251-C7E7-6FA4-2CE1529BA337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20"/>
            </p:custDataLst>
          </p:nvPr>
        </p:nvSpPr>
        <p:spPr>
          <a:xfrm>
            <a:off x="8157049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54F9E36-20DF-219E-5BDD-DF0CE485BA1F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1014944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6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E0F95DB-788E-E2B7-76E8-5E66D1408EE5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2"/>
            </p:custDataLst>
          </p:nvPr>
        </p:nvSpPr>
        <p:spPr>
          <a:xfrm>
            <a:off x="10149445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F9184EF-9862-955A-8DE5-8A21FF1B18AA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23"/>
            </p:custDataLst>
          </p:nvPr>
        </p:nvSpPr>
        <p:spPr>
          <a:xfrm>
            <a:off x="1014888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132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9AC60C44-A8F6-D398-E5C1-AC0CC7CAD159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1"/>
            </p:custDataLst>
          </p:nvPr>
        </p:nvSpPr>
        <p:spPr>
          <a:xfrm>
            <a:off x="4175125" y="1296988"/>
            <a:ext cx="7821613" cy="536416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31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harts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9AC60C44-A8F6-D398-E5C1-AC0CC7CAD159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1"/>
            </p:custDataLst>
          </p:nvPr>
        </p:nvSpPr>
        <p:spPr>
          <a:xfrm>
            <a:off x="4175125" y="195264"/>
            <a:ext cx="3840163" cy="316071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6" name="Chart Placeholder 9">
            <a:extLst>
              <a:ext uri="{FF2B5EF4-FFF2-40B4-BE49-F238E27FC236}">
                <a16:creationId xmlns:a16="http://schemas.microsoft.com/office/drawing/2014/main" id="{B8DFDF3E-3D68-0C30-3B5E-17D5B77AAF95}"/>
              </a:ext>
            </a:extLst>
          </p:cNvPr>
          <p:cNvSpPr>
            <a:spLocks noGrp="1"/>
          </p:cNvSpPr>
          <p:nvPr>
            <p:ph type="chart" sz="quarter" idx="16"/>
            <p:custDataLst>
              <p:tags r:id="rId8"/>
            </p:custDataLst>
          </p:nvPr>
        </p:nvSpPr>
        <p:spPr>
          <a:xfrm>
            <a:off x="8156575" y="195264"/>
            <a:ext cx="3840163" cy="316071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9"/>
            </p:custDataLst>
          </p:nvPr>
        </p:nvSpPr>
        <p:spPr>
          <a:xfrm>
            <a:off x="4175125" y="3500438"/>
            <a:ext cx="7821613" cy="2671075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44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5170488" y="2398714"/>
            <a:ext cx="6826250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4993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roducts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3"/>
            <a:ext cx="3838575" cy="958849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0000" indent="0">
              <a:buFontTx/>
              <a:buNone/>
              <a:defRPr/>
            </a:lvl2pPr>
            <a:lvl3pPr marL="356400" indent="0">
              <a:buFontTx/>
              <a:buNone/>
              <a:defRPr/>
            </a:lvl3pPr>
            <a:lvl4pPr marL="356400" indent="0">
              <a:buFontTx/>
              <a:buNone/>
              <a:defRPr/>
            </a:lvl4pPr>
            <a:lvl5pPr marL="356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6165850" y="2398714"/>
            <a:ext cx="5830888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533F694-E97B-1042-359B-632202BB71AF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3674" y="3500438"/>
            <a:ext cx="2843213" cy="26710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966CE510-9E0E-CA18-BBD3-FC9AF50B1960}"/>
              </a:ext>
            </a:extLst>
          </p:cNvPr>
          <p:cNvSpPr>
            <a:spLocks noGrp="1"/>
          </p:cNvSpPr>
          <p:nvPr>
            <p:ph type="pic" sz="quarter" idx="18"/>
            <p:custDataLst>
              <p:tags r:id="rId9"/>
            </p:custDataLst>
          </p:nvPr>
        </p:nvSpPr>
        <p:spPr>
          <a:xfrm>
            <a:off x="3182938" y="3500438"/>
            <a:ext cx="2843213" cy="26710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51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able and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5832475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7161213" y="1303021"/>
            <a:ext cx="4835524" cy="951229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0000" indent="0">
              <a:buFontTx/>
              <a:buNone/>
              <a:defRPr/>
            </a:lvl2pPr>
            <a:lvl3pPr marL="356400" indent="0">
              <a:buFontTx/>
              <a:buNone/>
              <a:defRPr/>
            </a:lvl3pPr>
            <a:lvl4pPr marL="356400" indent="0">
              <a:buFontTx/>
              <a:buNone/>
              <a:defRPr/>
            </a:lvl4pPr>
            <a:lvl5pPr marL="356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193676" y="2398713"/>
            <a:ext cx="5830888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533F694-E97B-1042-359B-632202BB71AF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7161213" y="2398714"/>
            <a:ext cx="4835526" cy="37728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3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E2A74-0DCE-698A-5CFD-2095E22262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5" y="1152525"/>
            <a:ext cx="6826249" cy="4406900"/>
          </a:xfrm>
          <a:noFill/>
        </p:spPr>
        <p:txBody>
          <a:bodyPr/>
          <a:lstStyle>
            <a:lvl1pPr>
              <a:defRPr spc="-50" baseline="0"/>
            </a:lvl1pPr>
          </a:lstStyle>
          <a:p>
            <a:r>
              <a:rPr lang="en-GB"/>
              <a:t>“Quote”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11B9AB-9661-525A-B670-E832A8553AD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08D976-FEA8-7712-75F2-4C5AD50C4A5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166764-6485-C03F-3AF9-98D3281E992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reeform 15">
            <a:extLst>
              <a:ext uri="{FF2B5EF4-FFF2-40B4-BE49-F238E27FC236}">
                <a16:creationId xmlns:a16="http://schemas.microsoft.com/office/drawing/2014/main" id="{5EF5D7BE-0F5E-3308-82D2-EB7838FD806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invGray">
          <a:xfrm>
            <a:off x="10153650" y="5304716"/>
            <a:ext cx="1852614" cy="1364364"/>
          </a:xfrm>
          <a:custGeom>
            <a:avLst/>
            <a:gdLst>
              <a:gd name="connsiteX0" fmla="*/ 0 w 1622568"/>
              <a:gd name="connsiteY0" fmla="*/ 590900 h 1194947"/>
              <a:gd name="connsiteX1" fmla="*/ 0 w 1622568"/>
              <a:gd name="connsiteY1" fmla="*/ 81640 h 1194947"/>
              <a:gd name="connsiteX2" fmla="*/ 81640 w 1622568"/>
              <a:gd name="connsiteY2" fmla="*/ 0 h 1194947"/>
              <a:gd name="connsiteX3" fmla="*/ 620290 w 1622568"/>
              <a:gd name="connsiteY3" fmla="*/ 0 h 1194947"/>
              <a:gd name="connsiteX4" fmla="*/ 701930 w 1622568"/>
              <a:gd name="connsiteY4" fmla="*/ 81640 h 1194947"/>
              <a:gd name="connsiteX5" fmla="*/ 701930 w 1622568"/>
              <a:gd name="connsiteY5" fmla="*/ 617024 h 1194947"/>
              <a:gd name="connsiteX6" fmla="*/ 672539 w 1622568"/>
              <a:gd name="connsiteY6" fmla="*/ 718257 h 1194947"/>
              <a:gd name="connsiteX7" fmla="*/ 417909 w 1622568"/>
              <a:gd name="connsiteY7" fmla="*/ 1139433 h 1194947"/>
              <a:gd name="connsiteX8" fmla="*/ 319942 w 1622568"/>
              <a:gd name="connsiteY8" fmla="*/ 1194947 h 1194947"/>
              <a:gd name="connsiteX9" fmla="*/ 143686 w 1622568"/>
              <a:gd name="connsiteY9" fmla="*/ 1194947 h 1194947"/>
              <a:gd name="connsiteX10" fmla="*/ 88171 w 1622568"/>
              <a:gd name="connsiteY10" fmla="*/ 1096980 h 1194947"/>
              <a:gd name="connsiteX11" fmla="*/ 290552 w 1622568"/>
              <a:gd name="connsiteY11" fmla="*/ 731320 h 1194947"/>
              <a:gd name="connsiteX12" fmla="*/ 257896 w 1622568"/>
              <a:gd name="connsiteY12" fmla="*/ 672539 h 1194947"/>
              <a:gd name="connsiteX13" fmla="*/ 81640 w 1622568"/>
              <a:gd name="connsiteY13" fmla="*/ 672539 h 1194947"/>
              <a:gd name="connsiteX14" fmla="*/ 0 w 1622568"/>
              <a:gd name="connsiteY14" fmla="*/ 590900 h 1194947"/>
              <a:gd name="connsiteX15" fmla="*/ 920638 w 1622568"/>
              <a:gd name="connsiteY15" fmla="*/ 590900 h 1194947"/>
              <a:gd name="connsiteX16" fmla="*/ 920638 w 1622568"/>
              <a:gd name="connsiteY16" fmla="*/ 81640 h 1194947"/>
              <a:gd name="connsiteX17" fmla="*/ 1002278 w 1622568"/>
              <a:gd name="connsiteY17" fmla="*/ 0 h 1194947"/>
              <a:gd name="connsiteX18" fmla="*/ 1540928 w 1622568"/>
              <a:gd name="connsiteY18" fmla="*/ 0 h 1194947"/>
              <a:gd name="connsiteX19" fmla="*/ 1622568 w 1622568"/>
              <a:gd name="connsiteY19" fmla="*/ 81640 h 1194947"/>
              <a:gd name="connsiteX20" fmla="*/ 1622568 w 1622568"/>
              <a:gd name="connsiteY20" fmla="*/ 617024 h 1194947"/>
              <a:gd name="connsiteX21" fmla="*/ 1593177 w 1622568"/>
              <a:gd name="connsiteY21" fmla="*/ 718257 h 1194947"/>
              <a:gd name="connsiteX22" fmla="*/ 1338547 w 1622568"/>
              <a:gd name="connsiteY22" fmla="*/ 1139433 h 1194947"/>
              <a:gd name="connsiteX23" fmla="*/ 1240580 w 1622568"/>
              <a:gd name="connsiteY23" fmla="*/ 1194947 h 1194947"/>
              <a:gd name="connsiteX24" fmla="*/ 1064324 w 1622568"/>
              <a:gd name="connsiteY24" fmla="*/ 1194947 h 1194947"/>
              <a:gd name="connsiteX25" fmla="*/ 1008809 w 1622568"/>
              <a:gd name="connsiteY25" fmla="*/ 1096980 h 1194947"/>
              <a:gd name="connsiteX26" fmla="*/ 1211190 w 1622568"/>
              <a:gd name="connsiteY26" fmla="*/ 731320 h 1194947"/>
              <a:gd name="connsiteX27" fmla="*/ 1178534 w 1622568"/>
              <a:gd name="connsiteY27" fmla="*/ 672539 h 1194947"/>
              <a:gd name="connsiteX28" fmla="*/ 1002278 w 1622568"/>
              <a:gd name="connsiteY28" fmla="*/ 672539 h 1194947"/>
              <a:gd name="connsiteX29" fmla="*/ 920638 w 1622568"/>
              <a:gd name="connsiteY29" fmla="*/ 590900 h 1194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622568" h="1194947">
                <a:moveTo>
                  <a:pt x="0" y="590900"/>
                </a:moveTo>
                <a:lnTo>
                  <a:pt x="0" y="81640"/>
                </a:lnTo>
                <a:cubicBezTo>
                  <a:pt x="0" y="29390"/>
                  <a:pt x="29391" y="0"/>
                  <a:pt x="81640" y="0"/>
                </a:cubicBezTo>
                <a:lnTo>
                  <a:pt x="620290" y="0"/>
                </a:lnTo>
                <a:cubicBezTo>
                  <a:pt x="672539" y="0"/>
                  <a:pt x="701930" y="29390"/>
                  <a:pt x="701930" y="81640"/>
                </a:cubicBezTo>
                <a:lnTo>
                  <a:pt x="701930" y="617024"/>
                </a:lnTo>
                <a:cubicBezTo>
                  <a:pt x="701930" y="656211"/>
                  <a:pt x="692133" y="682336"/>
                  <a:pt x="672539" y="718257"/>
                </a:cubicBezTo>
                <a:lnTo>
                  <a:pt x="417909" y="1139433"/>
                </a:lnTo>
                <a:cubicBezTo>
                  <a:pt x="395050" y="1175354"/>
                  <a:pt x="362395" y="1194947"/>
                  <a:pt x="319942" y="1194947"/>
                </a:cubicBezTo>
                <a:lnTo>
                  <a:pt x="143686" y="1194947"/>
                </a:lnTo>
                <a:cubicBezTo>
                  <a:pt x="81640" y="1194947"/>
                  <a:pt x="58781" y="1152495"/>
                  <a:pt x="88171" y="1096980"/>
                </a:cubicBezTo>
                <a:lnTo>
                  <a:pt x="290552" y="731320"/>
                </a:lnTo>
                <a:cubicBezTo>
                  <a:pt x="310145" y="695399"/>
                  <a:pt x="293817" y="672539"/>
                  <a:pt x="257896" y="672539"/>
                </a:cubicBezTo>
                <a:lnTo>
                  <a:pt x="81640" y="672539"/>
                </a:lnTo>
                <a:cubicBezTo>
                  <a:pt x="29391" y="672539"/>
                  <a:pt x="0" y="643149"/>
                  <a:pt x="0" y="590900"/>
                </a:cubicBezTo>
                <a:close/>
                <a:moveTo>
                  <a:pt x="920638" y="590900"/>
                </a:moveTo>
                <a:lnTo>
                  <a:pt x="920638" y="81640"/>
                </a:lnTo>
                <a:cubicBezTo>
                  <a:pt x="920638" y="29390"/>
                  <a:pt x="950029" y="0"/>
                  <a:pt x="1002278" y="0"/>
                </a:cubicBezTo>
                <a:lnTo>
                  <a:pt x="1540928" y="0"/>
                </a:lnTo>
                <a:cubicBezTo>
                  <a:pt x="1593177" y="0"/>
                  <a:pt x="1622568" y="29390"/>
                  <a:pt x="1622568" y="81640"/>
                </a:cubicBezTo>
                <a:lnTo>
                  <a:pt x="1622568" y="617024"/>
                </a:lnTo>
                <a:cubicBezTo>
                  <a:pt x="1622568" y="656211"/>
                  <a:pt x="1612771" y="682336"/>
                  <a:pt x="1593177" y="718257"/>
                </a:cubicBezTo>
                <a:lnTo>
                  <a:pt x="1338547" y="1139433"/>
                </a:lnTo>
                <a:cubicBezTo>
                  <a:pt x="1315688" y="1175354"/>
                  <a:pt x="1283033" y="1194947"/>
                  <a:pt x="1240580" y="1194947"/>
                </a:cubicBezTo>
                <a:lnTo>
                  <a:pt x="1064324" y="1194947"/>
                </a:lnTo>
                <a:cubicBezTo>
                  <a:pt x="1002278" y="1194947"/>
                  <a:pt x="979418" y="1152495"/>
                  <a:pt x="1008809" y="1096980"/>
                </a:cubicBezTo>
                <a:lnTo>
                  <a:pt x="1211190" y="731320"/>
                </a:lnTo>
                <a:cubicBezTo>
                  <a:pt x="1230783" y="695399"/>
                  <a:pt x="1214456" y="672539"/>
                  <a:pt x="1178534" y="672539"/>
                </a:cubicBezTo>
                <a:lnTo>
                  <a:pt x="1002278" y="672539"/>
                </a:lnTo>
                <a:cubicBezTo>
                  <a:pt x="950029" y="672539"/>
                  <a:pt x="920638" y="643149"/>
                  <a:pt x="920638" y="59090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F8EA27-F110-F3BB-B243-CEF296FE085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93676" y="5703888"/>
            <a:ext cx="6826248" cy="457200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4495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6B32171-B0A8-B3A0-CCB5-44613AA407B8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493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E2A74-0DCE-698A-5CFD-2095E22262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5830888" cy="4406900"/>
          </a:xfrm>
          <a:noFill/>
        </p:spPr>
        <p:txBody>
          <a:bodyPr/>
          <a:lstStyle>
            <a:lvl1pPr>
              <a:defRPr spc="-50" baseline="0"/>
            </a:lvl1pPr>
          </a:lstStyle>
          <a:p>
            <a:r>
              <a:rPr lang="en-GB"/>
              <a:t>“Quote”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11B9AB-9661-525A-B670-E832A8553AD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08D976-FEA8-7712-75F2-4C5AD50C4A5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166764-6485-C03F-3AF9-98D3281E992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F8EA27-F110-F3BB-B243-CEF296FE085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193676" y="5703888"/>
            <a:ext cx="5830887" cy="457200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85BC2F04-369F-C19F-EF9F-5E6D5561BC71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6"/>
            </p:custDataLst>
          </p:nvPr>
        </p:nvSpPr>
        <p:spPr>
          <a:xfrm>
            <a:off x="7161213" y="1296988"/>
            <a:ext cx="4835526" cy="536416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569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5A385-C337-B193-B23C-6C4B9791F005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01076A-2291-052C-DF5E-2FC0996834A7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7465622" y="372623"/>
            <a:ext cx="3239143" cy="6185767"/>
            <a:chOff x="7465622" y="372623"/>
            <a:chExt cx="3239143" cy="618576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179980C-D4D0-EE29-70B1-A2DD07D9E806}"/>
                </a:ext>
              </a:extLst>
            </p:cNvPr>
            <p:cNvSpPr/>
            <p:nvPr userDrawn="1"/>
          </p:nvSpPr>
          <p:spPr>
            <a:xfrm>
              <a:off x="7993519" y="532959"/>
              <a:ext cx="2183769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7000"/>
                </a:lnSpc>
                <a:spcBef>
                  <a:spcPts val="1200"/>
                </a:spcBef>
              </a:pPr>
              <a:endParaRPr lang="en-GB" sz="1600" spc="-20" dirty="0" err="1"/>
            </a:p>
          </p:txBody>
        </p:sp>
        <p:pic>
          <p:nvPicPr>
            <p:cNvPr id="6" name="Picture 5" descr="A black screen with a black background&#10;&#10;Description automatically generated">
              <a:extLst>
                <a:ext uri="{FF2B5EF4-FFF2-40B4-BE49-F238E27FC236}">
                  <a16:creationId xmlns:a16="http://schemas.microsoft.com/office/drawing/2014/main" id="{9EE5644C-5106-C952-ADA7-AB4402CABC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5622" y="372623"/>
              <a:ext cx="3239143" cy="6185767"/>
            </a:xfrm>
            <a:prstGeom prst="rect">
              <a:avLst/>
            </a:prstGeom>
          </p:spPr>
        </p:pic>
      </p:grp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E30962C-4936-B9A5-26E4-DF724E9C4C79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7763565" y="578678"/>
            <a:ext cx="2659270" cy="5740400"/>
          </a:xfrm>
          <a:custGeom>
            <a:avLst/>
            <a:gdLst>
              <a:gd name="connsiteX0" fmla="*/ 1031160 w 2659270"/>
              <a:gd name="connsiteY0" fmla="*/ 88949 h 5740400"/>
              <a:gd name="connsiteX1" fmla="*/ 912191 w 2659270"/>
              <a:gd name="connsiteY1" fmla="*/ 207918 h 5740400"/>
              <a:gd name="connsiteX2" fmla="*/ 1031160 w 2659270"/>
              <a:gd name="connsiteY2" fmla="*/ 326887 h 5740400"/>
              <a:gd name="connsiteX3" fmla="*/ 1626843 w 2659270"/>
              <a:gd name="connsiteY3" fmla="*/ 326887 h 5740400"/>
              <a:gd name="connsiteX4" fmla="*/ 1745812 w 2659270"/>
              <a:gd name="connsiteY4" fmla="*/ 207918 h 5740400"/>
              <a:gd name="connsiteX5" fmla="*/ 1626843 w 2659270"/>
              <a:gd name="connsiteY5" fmla="*/ 88949 h 5740400"/>
              <a:gd name="connsiteX6" fmla="*/ 369665 w 2659270"/>
              <a:gd name="connsiteY6" fmla="*/ 0 h 5740400"/>
              <a:gd name="connsiteX7" fmla="*/ 2289605 w 2659270"/>
              <a:gd name="connsiteY7" fmla="*/ 0 h 5740400"/>
              <a:gd name="connsiteX8" fmla="*/ 2659270 w 2659270"/>
              <a:gd name="connsiteY8" fmla="*/ 369665 h 5740400"/>
              <a:gd name="connsiteX9" fmla="*/ 2659270 w 2659270"/>
              <a:gd name="connsiteY9" fmla="*/ 5370735 h 5740400"/>
              <a:gd name="connsiteX10" fmla="*/ 2289605 w 2659270"/>
              <a:gd name="connsiteY10" fmla="*/ 5740400 h 5740400"/>
              <a:gd name="connsiteX11" fmla="*/ 369665 w 2659270"/>
              <a:gd name="connsiteY11" fmla="*/ 5740400 h 5740400"/>
              <a:gd name="connsiteX12" fmla="*/ 0 w 2659270"/>
              <a:gd name="connsiteY12" fmla="*/ 5370735 h 5740400"/>
              <a:gd name="connsiteX13" fmla="*/ 0 w 2659270"/>
              <a:gd name="connsiteY13" fmla="*/ 369665 h 5740400"/>
              <a:gd name="connsiteX14" fmla="*/ 369665 w 2659270"/>
              <a:gd name="connsiteY14" fmla="*/ 0 h 57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59270" h="5740400">
                <a:moveTo>
                  <a:pt x="1031160" y="88949"/>
                </a:moveTo>
                <a:cubicBezTo>
                  <a:pt x="965455" y="88949"/>
                  <a:pt x="912191" y="142213"/>
                  <a:pt x="912191" y="207918"/>
                </a:cubicBezTo>
                <a:cubicBezTo>
                  <a:pt x="912191" y="273623"/>
                  <a:pt x="965455" y="326887"/>
                  <a:pt x="1031160" y="326887"/>
                </a:cubicBezTo>
                <a:lnTo>
                  <a:pt x="1626843" y="326887"/>
                </a:lnTo>
                <a:cubicBezTo>
                  <a:pt x="1692548" y="326887"/>
                  <a:pt x="1745812" y="273623"/>
                  <a:pt x="1745812" y="207918"/>
                </a:cubicBezTo>
                <a:cubicBezTo>
                  <a:pt x="1745812" y="142213"/>
                  <a:pt x="1692548" y="88949"/>
                  <a:pt x="1626843" y="88949"/>
                </a:cubicBezTo>
                <a:close/>
                <a:moveTo>
                  <a:pt x="369665" y="0"/>
                </a:moveTo>
                <a:lnTo>
                  <a:pt x="2289605" y="0"/>
                </a:lnTo>
                <a:cubicBezTo>
                  <a:pt x="2493765" y="0"/>
                  <a:pt x="2659270" y="165505"/>
                  <a:pt x="2659270" y="369665"/>
                </a:cubicBezTo>
                <a:lnTo>
                  <a:pt x="2659270" y="5370735"/>
                </a:lnTo>
                <a:cubicBezTo>
                  <a:pt x="2659270" y="5574895"/>
                  <a:pt x="2493765" y="5740400"/>
                  <a:pt x="2289605" y="5740400"/>
                </a:cubicBezTo>
                <a:lnTo>
                  <a:pt x="369665" y="5740400"/>
                </a:lnTo>
                <a:cubicBezTo>
                  <a:pt x="165505" y="5740400"/>
                  <a:pt x="0" y="5574895"/>
                  <a:pt x="0" y="5370735"/>
                </a:cubicBezTo>
                <a:lnTo>
                  <a:pt x="0" y="369665"/>
                </a:lnTo>
                <a:cubicBezTo>
                  <a:pt x="0" y="165505"/>
                  <a:pt x="165505" y="0"/>
                  <a:pt x="369665" y="0"/>
                </a:cubicBez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6785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56DEB2-17E4-7185-452C-9B65BF5945DD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9" name="Picture 8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F3CAFD5D-B6B1-3247-8530-610980AF14E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10"/>
          <a:srcRect l="987" r="987"/>
          <a:stretch/>
        </p:blipFill>
        <p:spPr>
          <a:xfrm>
            <a:off x="6711348" y="312740"/>
            <a:ext cx="4748398" cy="6208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7669F77-E9EA-64F9-DB61-4AAB4642C4F7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6955367" y="603249"/>
            <a:ext cx="4264370" cy="5632723"/>
          </a:xfrm>
          <a:prstGeom prst="roundRect">
            <a:avLst>
              <a:gd name="adj" fmla="val 904"/>
            </a:avLst>
          </a:pr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06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27C8901-36D9-8C9C-E7A8-773EDEF096D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2" name="Picture 11" descr="A computer with a black screen&#10;&#10;Description automatically generated">
            <a:extLst>
              <a:ext uri="{FF2B5EF4-FFF2-40B4-BE49-F238E27FC236}">
                <a16:creationId xmlns:a16="http://schemas.microsoft.com/office/drawing/2014/main" id="{19535C81-9723-C17A-FD17-FCC56C94801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/>
          <a:srcRect/>
          <a:stretch>
            <a:fillRect/>
          </a:stretch>
        </p:blipFill>
        <p:spPr>
          <a:xfrm>
            <a:off x="3441104" y="695944"/>
            <a:ext cx="9939185" cy="5852954"/>
          </a:xfrm>
          <a:custGeom>
            <a:avLst/>
            <a:gdLst>
              <a:gd name="connsiteX0" fmla="*/ 0 w 9939185"/>
              <a:gd name="connsiteY0" fmla="*/ 0 h 5852954"/>
              <a:gd name="connsiteX1" fmla="*/ 9939185 w 9939185"/>
              <a:gd name="connsiteY1" fmla="*/ 0 h 5852954"/>
              <a:gd name="connsiteX2" fmla="*/ 9939185 w 9939185"/>
              <a:gd name="connsiteY2" fmla="*/ 3164856 h 5852954"/>
              <a:gd name="connsiteX3" fmla="*/ 8750896 w 9939185"/>
              <a:gd name="connsiteY3" fmla="*/ 3164856 h 5852954"/>
              <a:gd name="connsiteX4" fmla="*/ 8750896 w 9939185"/>
              <a:gd name="connsiteY4" fmla="*/ 5852954 h 5852954"/>
              <a:gd name="connsiteX5" fmla="*/ 0 w 9939185"/>
              <a:gd name="connsiteY5" fmla="*/ 5852954 h 585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39185" h="5852954">
                <a:moveTo>
                  <a:pt x="0" y="0"/>
                </a:moveTo>
                <a:lnTo>
                  <a:pt x="9939185" y="0"/>
                </a:lnTo>
                <a:lnTo>
                  <a:pt x="9939185" y="3164856"/>
                </a:lnTo>
                <a:lnTo>
                  <a:pt x="8750896" y="3164856"/>
                </a:lnTo>
                <a:lnTo>
                  <a:pt x="8750896" y="5852954"/>
                </a:lnTo>
                <a:lnTo>
                  <a:pt x="0" y="5852954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93677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7669F77-E9EA-64F9-DB61-4AAB4642C4F7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973750" y="979266"/>
            <a:ext cx="6884156" cy="4312536"/>
          </a:xfrm>
          <a:prstGeom prst="roundRect">
            <a:avLst>
              <a:gd name="adj" fmla="val 165"/>
            </a:avLst>
          </a:pr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813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79233" y="195263"/>
            <a:ext cx="2844800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5"/>
            </p:custDataLst>
          </p:nvPr>
        </p:nvSpPr>
        <p:spPr>
          <a:xfrm>
            <a:off x="194400" y="3500439"/>
            <a:ext cx="2844800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6"/>
            </p:custDataLst>
          </p:nvPr>
        </p:nvSpPr>
        <p:spPr>
          <a:xfrm>
            <a:off x="6166379" y="3500439"/>
            <a:ext cx="2844800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193675" y="1296988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3180821" y="4602163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>
          <a:xfrm>
            <a:off x="6167967" y="1296988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0"/>
            </p:custDataLst>
          </p:nvPr>
        </p:nvSpPr>
        <p:spPr>
          <a:xfrm>
            <a:off x="9153525" y="195263"/>
            <a:ext cx="2844800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1"/>
            </p:custDataLst>
          </p:nvPr>
        </p:nvSpPr>
        <p:spPr>
          <a:xfrm>
            <a:off x="9155112" y="4602163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2184400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5"/>
            </p:custDataLst>
          </p:nvPr>
        </p:nvSpPr>
        <p:spPr>
          <a:xfrm>
            <a:off x="194400" y="3500439"/>
            <a:ext cx="1849438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6"/>
            </p:custDataLst>
          </p:nvPr>
        </p:nvSpPr>
        <p:spPr>
          <a:xfrm>
            <a:off x="4175125" y="3500439"/>
            <a:ext cx="1849438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193675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2185988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>
          <a:xfrm>
            <a:off x="4176713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0"/>
            </p:custDataLst>
          </p:nvPr>
        </p:nvSpPr>
        <p:spPr>
          <a:xfrm>
            <a:off x="6165850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1"/>
            </p:custDataLst>
          </p:nvPr>
        </p:nvSpPr>
        <p:spPr>
          <a:xfrm>
            <a:off x="6167437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F7735C3-56B8-0BAE-5C06-89305AC1980B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2"/>
            </p:custDataLst>
          </p:nvPr>
        </p:nvSpPr>
        <p:spPr>
          <a:xfrm>
            <a:off x="8158163" y="3500439"/>
            <a:ext cx="1849438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E86131-32FF-54AF-5649-82F622DB6FD4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3"/>
            </p:custDataLst>
          </p:nvPr>
        </p:nvSpPr>
        <p:spPr>
          <a:xfrm>
            <a:off x="8159751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8200B67-3F29-D1C6-F912-A08ECAC6F35A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14"/>
            </p:custDataLst>
          </p:nvPr>
        </p:nvSpPr>
        <p:spPr>
          <a:xfrm>
            <a:off x="10146742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C165205-9DBA-3822-3695-D4EF38287016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15"/>
            </p:custDataLst>
          </p:nvPr>
        </p:nvSpPr>
        <p:spPr>
          <a:xfrm>
            <a:off x="10148329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675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hank you!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2398712"/>
            <a:ext cx="3838574" cy="2058987"/>
          </a:xfrm>
        </p:spPr>
        <p:txBody>
          <a:bodyPr lIns="32400" tIns="0" bIns="36000"/>
          <a:lstStyle>
            <a:lvl1pPr marL="0" indent="0">
              <a:lnSpc>
                <a:spcPct val="107000"/>
              </a:lnSpc>
              <a:buNone/>
              <a:defRPr sz="16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Title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619919" y="5054400"/>
            <a:ext cx="4409281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.namesson@skf.com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19919" y="5527800"/>
            <a:ext cx="4407457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+46 70 XXX XX X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8"/>
            </p:custDataLst>
          </p:nvPr>
        </p:nvSpPr>
        <p:spPr>
          <a:xfrm>
            <a:off x="619919" y="6001200"/>
            <a:ext cx="4406815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-namess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B6F61F-13FC-E5FD-8F74-1319EE8E8FF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9"/>
            </p:custDataLst>
          </p:nvPr>
        </p:nvSpPr>
        <p:spPr bwMode="invGray">
          <a:xfrm>
            <a:off x="213297" y="5028177"/>
            <a:ext cx="266400" cy="266400"/>
          </a:xfr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A370C4-1191-2B2D-7A0B-EF946B4F56E7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0"/>
            </p:custDataLst>
          </p:nvPr>
        </p:nvSpPr>
        <p:spPr bwMode="invGray">
          <a:xfrm>
            <a:off x="213297" y="5973949"/>
            <a:ext cx="266400" cy="266400"/>
          </a:xfr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4738593-0764-06D6-12E7-186224732924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1"/>
            </p:custDataLst>
          </p:nvPr>
        </p:nvSpPr>
        <p:spPr bwMode="invGray">
          <a:xfrm>
            <a:off x="251097" y="5501063"/>
            <a:ext cx="190800" cy="266400"/>
          </a:xfr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651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F565054-9FE4-61FC-6279-4E53325CA571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hank you!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2398712"/>
            <a:ext cx="3838574" cy="2058987"/>
          </a:xfrm>
        </p:spPr>
        <p:txBody>
          <a:bodyPr lIns="32400" tIns="0" bIns="36000"/>
          <a:lstStyle>
            <a:lvl1pPr marL="0" indent="0">
              <a:lnSpc>
                <a:spcPct val="107000"/>
              </a:lnSpc>
              <a:buNone/>
              <a:defRPr sz="16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Title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619919" y="5054400"/>
            <a:ext cx="4409281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.namesson@skf.com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19919" y="5527800"/>
            <a:ext cx="4407457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+46 70 XXX XX X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619919" y="6001200"/>
            <a:ext cx="4406815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-namess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F2E4-71D4-CBF0-F8E9-9CF09F476115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0"/>
            </p:custDataLst>
          </p:nvPr>
        </p:nvSpPr>
        <p:spPr>
          <a:xfrm>
            <a:off x="213297" y="5028177"/>
            <a:ext cx="266400" cy="266400"/>
          </a:xfr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C573ED3-F1E6-A9F0-6259-E5D1558A7A0C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1"/>
            </p:custDataLst>
          </p:nvPr>
        </p:nvSpPr>
        <p:spPr>
          <a:xfrm>
            <a:off x="213297" y="5973949"/>
            <a:ext cx="266400" cy="266400"/>
          </a:xfr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10FAA40-7F76-1B02-B5B3-3C72F8997A23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2"/>
            </p:custDataLst>
          </p:nvPr>
        </p:nvSpPr>
        <p:spPr>
          <a:xfrm>
            <a:off x="251097" y="5501063"/>
            <a:ext cx="190800" cy="266400"/>
          </a:xfrm>
          <a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61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980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426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Full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797C20A3-2A2C-2E0F-E013-3708B26ADB8B}"/>
              </a:ext>
            </a:extLst>
          </p:cNvPr>
          <p:cNvSpPr>
            <a:spLocks noGrp="1"/>
          </p:cNvSpPr>
          <p:nvPr>
            <p:ph type="media" sz="quarter" idx="14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223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6" y="195263"/>
            <a:ext cx="3840161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56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6" y="195263"/>
            <a:ext cx="3840161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684F13FC-3C9C-9B4B-C53E-7468C22660C9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6" y="3500438"/>
            <a:ext cx="3840161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0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hree Column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8"/>
            </p:custDataLst>
          </p:nvPr>
        </p:nvSpPr>
        <p:spPr>
          <a:xfrm>
            <a:off x="8158163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366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wo 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158163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hart Placeholder 9">
            <a:extLst>
              <a:ext uri="{FF2B5EF4-FFF2-40B4-BE49-F238E27FC236}">
                <a16:creationId xmlns:a16="http://schemas.microsoft.com/office/drawing/2014/main" id="{C10B0A53-C391-DF87-C514-59B5FB4CA97C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7"/>
            </p:custDataLst>
          </p:nvPr>
        </p:nvSpPr>
        <p:spPr>
          <a:xfrm>
            <a:off x="192087" y="2398714"/>
            <a:ext cx="3840163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CA972801-1298-AFEC-2F0E-E8B0C9C50D5D}"/>
              </a:ext>
            </a:extLst>
          </p:cNvPr>
          <p:cNvSpPr>
            <a:spLocks noGrp="1"/>
          </p:cNvSpPr>
          <p:nvPr>
            <p:ph type="chart" sz="quarter" idx="17"/>
            <p:custDataLst>
              <p:tags r:id="rId8"/>
            </p:custDataLst>
          </p:nvPr>
        </p:nvSpPr>
        <p:spPr>
          <a:xfrm>
            <a:off x="4173537" y="2398714"/>
            <a:ext cx="3840163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7597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wo Column Text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19367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CA972801-1298-AFEC-2F0E-E8B0C9C50D5D}"/>
              </a:ext>
            </a:extLst>
          </p:cNvPr>
          <p:cNvSpPr>
            <a:spLocks noGrp="1"/>
          </p:cNvSpPr>
          <p:nvPr>
            <p:ph type="chart" sz="quarter" idx="17"/>
            <p:custDataLst>
              <p:tags r:id="rId7"/>
            </p:custDataLst>
          </p:nvPr>
        </p:nvSpPr>
        <p:spPr>
          <a:xfrm>
            <a:off x="8156575" y="2398713"/>
            <a:ext cx="3840163" cy="18144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Chart Placeholder 9">
            <a:extLst>
              <a:ext uri="{FF2B5EF4-FFF2-40B4-BE49-F238E27FC236}">
                <a16:creationId xmlns:a16="http://schemas.microsoft.com/office/drawing/2014/main" id="{C48EE729-ED63-1E51-0703-158F8240BA30}"/>
              </a:ext>
            </a:extLst>
          </p:cNvPr>
          <p:cNvSpPr>
            <a:spLocks noGrp="1"/>
          </p:cNvSpPr>
          <p:nvPr>
            <p:ph type="chart" sz="quarter" idx="18"/>
            <p:custDataLst>
              <p:tags r:id="rId8"/>
            </p:custDataLst>
          </p:nvPr>
        </p:nvSpPr>
        <p:spPr>
          <a:xfrm>
            <a:off x="8156575" y="4357113"/>
            <a:ext cx="3840163" cy="18144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C9FDE2B-7EFA-5476-EA19-5182184AA567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726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5" y="2398713"/>
            <a:ext cx="3838575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6"/>
            </p:custDataLst>
          </p:nvPr>
        </p:nvSpPr>
        <p:spPr>
          <a:xfrm>
            <a:off x="4347276" y="2398714"/>
            <a:ext cx="7493430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F93F4A6-BC9A-38EC-1B35-F8D9316B10A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354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Product Shee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4175125" y="2398713"/>
            <a:ext cx="3840163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6"/>
            </p:custDataLst>
          </p:nvPr>
        </p:nvSpPr>
        <p:spPr>
          <a:xfrm>
            <a:off x="193674" y="4608000"/>
            <a:ext cx="3838575" cy="2052926"/>
          </a:xfrm>
        </p:spPr>
        <p:txBody>
          <a:bodyPr bIns="72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7"/>
            </p:custDataLst>
          </p:nvPr>
        </p:nvSpPr>
        <p:spPr>
          <a:xfrm>
            <a:off x="193675" y="2398937"/>
            <a:ext cx="3838574" cy="2052926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8169916" y="2398713"/>
            <a:ext cx="3828411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9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C66CF23-1461-B441-D5B1-AD0AE1E262E5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93676" y="1152525"/>
            <a:ext cx="7822800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58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Product Shee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2398713"/>
            <a:ext cx="3838574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8158163" y="2398713"/>
            <a:ext cx="3838574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175126" y="2398713"/>
            <a:ext cx="3838574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8158163" y="460216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938B805-AF8D-6767-5AEC-FF26BB1B42E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644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hree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3838574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175126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4176714" y="239871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8161339" y="239871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8161339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4177688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8161826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5BE744C-5D96-F457-9651-E7F74E966E98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37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Four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2844799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3177924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3179512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6169279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6169279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3180486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6169766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DADAEE6-E03A-A62D-4B27-C5DD191C3851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5"/>
            </p:custDataLst>
          </p:nvPr>
        </p:nvSpPr>
        <p:spPr>
          <a:xfrm>
            <a:off x="9159046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E9286B-F251-21E9-DED1-23A87CDBD853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6"/>
            </p:custDataLst>
          </p:nvPr>
        </p:nvSpPr>
        <p:spPr>
          <a:xfrm>
            <a:off x="9159046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1F24326-799F-B331-0B6C-B2E448FC7367}"/>
              </a:ext>
            </a:extLst>
          </p:cNvPr>
          <p:cNvSpPr>
            <a:spLocks noGrp="1"/>
          </p:cNvSpPr>
          <p:nvPr>
            <p:ph type="body" idx="28" hasCustomPrompt="1"/>
            <p:custDataLst>
              <p:tags r:id="rId17"/>
            </p:custDataLst>
          </p:nvPr>
        </p:nvSpPr>
        <p:spPr>
          <a:xfrm>
            <a:off x="9159533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3263BE4-061D-1E19-481D-AEA0C80D88B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388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6165850" y="1308099"/>
            <a:ext cx="5830888" cy="4251325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744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Six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7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1849436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2184719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2185298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4176196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4175761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218481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417595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DADAEE6-E03A-A62D-4B27-C5DD191C3851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5"/>
            </p:custDataLst>
          </p:nvPr>
        </p:nvSpPr>
        <p:spPr>
          <a:xfrm>
            <a:off x="6167094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E9286B-F251-21E9-DED1-23A87CDBD853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6"/>
            </p:custDataLst>
          </p:nvPr>
        </p:nvSpPr>
        <p:spPr>
          <a:xfrm>
            <a:off x="6166803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1F24326-799F-B331-0B6C-B2E448FC7367}"/>
              </a:ext>
            </a:extLst>
          </p:cNvPr>
          <p:cNvSpPr>
            <a:spLocks noGrp="1"/>
          </p:cNvSpPr>
          <p:nvPr>
            <p:ph type="body" idx="28" hasCustomPrompt="1"/>
            <p:custDataLst>
              <p:tags r:id="rId17"/>
            </p:custDataLst>
          </p:nvPr>
        </p:nvSpPr>
        <p:spPr>
          <a:xfrm>
            <a:off x="616709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BA0E27CC-88C5-D2AC-43C2-FABEE1DFDBFF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18"/>
            </p:custDataLst>
          </p:nvPr>
        </p:nvSpPr>
        <p:spPr>
          <a:xfrm>
            <a:off x="8157992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0F91DF-A7A9-39F4-C417-1D19A07CDCB1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19"/>
            </p:custDataLst>
          </p:nvPr>
        </p:nvSpPr>
        <p:spPr>
          <a:xfrm>
            <a:off x="8157845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7EFBD7B-9E06-73C2-87F9-5DF924185F5E}"/>
              </a:ext>
            </a:extLst>
          </p:cNvPr>
          <p:cNvSpPr>
            <a:spLocks noGrp="1"/>
          </p:cNvSpPr>
          <p:nvPr>
            <p:ph type="body" idx="31" hasCustomPrompt="1"/>
            <p:custDataLst>
              <p:tags r:id="rId20"/>
            </p:custDataLst>
          </p:nvPr>
        </p:nvSpPr>
        <p:spPr>
          <a:xfrm>
            <a:off x="815823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33AF0B5A-52FF-FFA0-972C-F01B2490150B}"/>
              </a:ext>
            </a:extLst>
          </p:cNvPr>
          <p:cNvSpPr>
            <a:spLocks noGrp="1"/>
          </p:cNvSpPr>
          <p:nvPr>
            <p:ph type="pic" sz="quarter" idx="32"/>
            <p:custDataLst>
              <p:tags r:id="rId21"/>
            </p:custDataLst>
          </p:nvPr>
        </p:nvSpPr>
        <p:spPr>
          <a:xfrm>
            <a:off x="10148888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1E8D7D-E574-5E9D-A86F-4940CE277D51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10148888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9F4F82D-C8EB-6B3E-83B2-97C958E3A669}"/>
              </a:ext>
            </a:extLst>
          </p:cNvPr>
          <p:cNvSpPr>
            <a:spLocks noGrp="1"/>
          </p:cNvSpPr>
          <p:nvPr>
            <p:ph type="body" idx="34" hasCustomPrompt="1"/>
            <p:custDataLst>
              <p:tags r:id="rId23"/>
            </p:custDataLst>
          </p:nvPr>
        </p:nvSpPr>
        <p:spPr>
          <a:xfrm>
            <a:off x="10149374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D02BBA9E-2E18-D8AF-C6EA-132A411939DE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34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CB348-8279-41F3-9980-A1172114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7050" y="2508250"/>
            <a:ext cx="7204550" cy="5436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sz="3200" cap="all" baseline="0"/>
            </a:lvl1pPr>
          </a:lstStyle>
          <a:p>
            <a:r>
              <a:rPr lang="en-GB" noProof="0" dirty="0"/>
              <a:t>ENTER TITLE – JUST ONE LINE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0C32FF60-6FE8-4461-972D-A358F17082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40000" y="2520000"/>
            <a:ext cx="2286000" cy="54292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A584E0-8547-4EBA-93A4-9919707E8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7050" y="3218400"/>
            <a:ext cx="7204550" cy="1080000"/>
          </a:xfrm>
          <a:prstGeom prst="rect">
            <a:avLst/>
          </a:prstGeom>
        </p:spPr>
        <p:txBody>
          <a:bodyPr/>
          <a:lstStyle>
            <a:lvl1pPr algn="l">
              <a:defRPr sz="2000"/>
            </a:lvl1pPr>
          </a:lstStyle>
          <a:p>
            <a:pPr lvl="0"/>
            <a:r>
              <a:rPr lang="en-GB" noProof="0" dirty="0"/>
              <a:t>Enter 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0715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580">
          <p15:clr>
            <a:srgbClr val="FBAE40"/>
          </p15:clr>
        </p15:guide>
        <p15:guide id="2" pos="273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ACD53D-220E-4DFE-B6B1-6C6131C95ED3}"/>
              </a:ext>
            </a:extLst>
          </p:cNvPr>
          <p:cNvSpPr/>
          <p:nvPr userDrawn="1"/>
        </p:nvSpPr>
        <p:spPr>
          <a:xfrm>
            <a:off x="180000" y="540000"/>
            <a:ext cx="11833200" cy="6156326"/>
          </a:xfrm>
          <a:prstGeom prst="rect">
            <a:avLst/>
          </a:prstGeom>
          <a:solidFill>
            <a:srgbClr val="5F5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18F717A-AEE1-448D-8297-B65D1013C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4588E-EDBE-4767-AE90-F3C3C11E5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877567A-31B7-4D9B-9FA3-529F52DCA7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6292DD6A-D95C-49C4-A09E-49954026D21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3B8F14C-FF5A-464F-8949-9B00171420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321303"/>
      </p:ext>
    </p:extLst>
  </p:cSld>
  <p:clrMapOvr>
    <a:masterClrMapping/>
  </p:clrMapOvr>
  <p:transition spd="slow">
    <p:push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EB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6A52C3-A678-48E2-BFC2-80EAC5E1D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rgbClr val="000000"/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99653BA-8942-448A-92BF-691B41634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DB38C5D-4587-4253-81D6-06CFFA3E6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5C155B0-E9E6-484D-AC00-BE7E7BE4A6CB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384B32-2192-432D-8DE3-404E08B63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180078"/>
      </p:ext>
    </p:extLst>
  </p:cSld>
  <p:clrMapOvr>
    <a:masterClrMapping/>
  </p:clrMapOvr>
  <p:transition spd="slow">
    <p:push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7862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585AB0-D6AC-4B6E-A764-FD2CAA75A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EEEA16-4FF1-4ABD-A324-59C70EF9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D1589C-4BA5-4AA8-925B-24BE7728E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554AF94-FE31-48FA-98BE-CFBAA400FB83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C6FCC10-3F8E-46FD-8674-BCD3D86F5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392570"/>
      </p:ext>
    </p:extLst>
  </p:cSld>
  <p:clrMapOvr>
    <a:masterClrMapping/>
  </p:clrMapOvr>
  <p:transition spd="slow">
    <p:push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556354-608B-4787-8DE7-B1332BE07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AE61C4-43D1-401F-9D54-F9FB6B080A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677200"/>
            <a:ext cx="5554800" cy="640800"/>
          </a:xfrm>
          <a:prstGeom prst="rect">
            <a:avLst/>
          </a:prstGeom>
          <a:solidFill>
            <a:srgbClr val="000000">
              <a:alpha val="60000"/>
            </a:srgbClr>
          </a:solidFill>
        </p:spPr>
        <p:txBody>
          <a:bodyPr vert="horz" lIns="180000" tIns="180000" rIns="180000" bIns="180000" anchor="b" anchorCtr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noProof="0" dirty="0"/>
              <a:t>Remove this textbox if no caption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68D0A-F18A-4F70-9C7E-31EDA5B7E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CD1D0CB-5FD8-4A4A-812D-7DA6EBEA5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5618C83-F056-4BDA-9D99-02AD24DDBCC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A006013-28DF-4DE2-BF63-CD8BFE454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13585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3981">
          <p15:clr>
            <a:srgbClr val="FBAE40"/>
          </p15:clr>
        </p15:guide>
        <p15:guide id="3" pos="33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E850CC31-ED22-4F3F-A1B4-0C5FC134945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icon to add media 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E537F4-6FE1-4910-A3DD-AFB5CC963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093B71E-EFD3-45AC-A22F-5587F00ED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1B1C576-E309-4693-80E1-431F7886658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75D520-DEC3-4D51-8576-4C105CBCA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637340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107C0F9-0B49-4A3F-88BD-00EFED694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50" y="536575"/>
            <a:ext cx="7399338" cy="18160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8BFA0F4-9C74-4C78-B342-6D09C562D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21A9B79-955C-41CE-B02B-06B2DABD4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C8DA350-5CB0-4463-8133-9E5588E7334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2DC3582-BD3E-48E7-B4A4-089A9CC51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4FB65-B7C5-42A5-8C41-DD17DFE909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93950" y="2517776"/>
            <a:ext cx="7399338" cy="415925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73113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482">
          <p15:clr>
            <a:srgbClr val="FBAE40"/>
          </p15:clr>
        </p15:guide>
        <p15:guide id="2" pos="1508">
          <p15:clr>
            <a:srgbClr val="FBAE40"/>
          </p15:clr>
        </p15:guide>
        <p15:guide id="3" pos="6169">
          <p15:clr>
            <a:srgbClr val="FBAE40"/>
          </p15:clr>
        </p15:guide>
        <p15:guide id="4" orient="horz" pos="15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0F0F4E-3794-41C1-980B-E757B2EA76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7200000" cy="6138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3A53AC-611C-4659-AC44-69E8130D3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8088" y="536575"/>
            <a:ext cx="4456112" cy="1800000"/>
          </a:xfrm>
          <a:prstGeom prst="rect">
            <a:avLst/>
          </a:prstGeom>
        </p:spPr>
        <p:txBody>
          <a:bodyPr rIns="180000" anchor="b"/>
          <a:lstStyle>
            <a:lvl1pPr>
              <a:defRPr sz="3200"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EC200BA-345F-4D94-8545-3B91E79EF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6D30DFC-88EB-4419-87B7-16A9B0C86B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1C82D8E-5556-4B59-B906-8F750C8D4E62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39D7DD-F191-4C92-B4AA-A3704E825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388983-6D37-4892-852E-C72ACDF10D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8088" y="2537025"/>
            <a:ext cx="4456112" cy="4140000"/>
          </a:xfrm>
        </p:spPr>
        <p:txBody>
          <a:bodyPr rIns="18000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14327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4650">
          <p15:clr>
            <a:srgbClr val="FBAE40"/>
          </p15:clr>
        </p15:guide>
        <p15:guide id="3" pos="476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540000"/>
            <a:ext cx="11070000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and add title – just one lin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49B0FC7-218C-4ED8-AEBF-AEECCA7A9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3ECB66E-0F10-4E1E-AF3A-542B809333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8AC1422E-3668-4382-B9A9-4FD644140E9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0BAD8-4D41-4514-9ACD-FE581DE8D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7E77CB-6747-49BD-88CB-1119FAF096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0000" y="1208088"/>
            <a:ext cx="5829300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9535B78-6C09-40CA-BE21-62E1ED086F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83313" y="1208088"/>
            <a:ext cx="5830887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085240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784">
          <p15:clr>
            <a:srgbClr val="FBAE40"/>
          </p15:clr>
        </p15:guide>
        <p15:guide id="2" pos="3895">
          <p15:clr>
            <a:srgbClr val="FBAE40"/>
          </p15:clr>
        </p15:guide>
        <p15:guide id="3" orient="horz" pos="76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981233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2"/>
            <a:ext cx="11803063" cy="4262437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32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154069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A68000-1941-4DA0-8A1F-8EBDA65AC0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388" y="1209600"/>
            <a:ext cx="11833200" cy="546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0280845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7699F8D-C613-4ED6-B268-165946804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31775-1B7D-4040-AEE6-E0835CF3DE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38DDC05-C5AB-4C50-8C8B-94920D70AB4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9D35D-17DA-41F7-B040-E653B35AA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071707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D2C7A91-7897-4A7F-B8EA-CB6C7D0C4EF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184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EB2EF7F-9324-4D4B-A1BF-484815D98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06B3B19-5004-46F2-9182-14C12B310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74DD411-81C5-4603-B808-749A1C23957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972EF5-9A3B-49A1-967A-27C8B73DE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936973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2634">
          <p15:clr>
            <a:srgbClr val="FBAE40"/>
          </p15:clr>
        </p15:guide>
        <p15:guide id="3" pos="2526">
          <p15:clr>
            <a:srgbClr val="FBAE40"/>
          </p15:clr>
        </p15:guide>
        <p15:guide id="4" pos="5046">
          <p15:clr>
            <a:srgbClr val="FBAE40"/>
          </p15:clr>
        </p15:guide>
        <p15:guide id="5" pos="5157">
          <p15:clr>
            <a:srgbClr val="FBAE40"/>
          </p15:clr>
        </p15:guide>
        <p15:guide id="9" orient="horz" pos="2219">
          <p15:clr>
            <a:srgbClr val="FBAE40"/>
          </p15:clr>
        </p15:guide>
        <p15:guide id="10" orient="horz" pos="2333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40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40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56539C1-C96B-42D7-A2AF-A41692CC4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44E3066-EB01-4F22-9F1F-105C178506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55410AF6-44BC-406B-8801-DFE9D5170784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86747B-BDEC-470C-887F-962A57571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583837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2526">
          <p15:clr>
            <a:srgbClr val="FBAE40"/>
          </p15:clr>
        </p15:guide>
        <p15:guide id="3" pos="2634">
          <p15:clr>
            <a:srgbClr val="FBAE40"/>
          </p15:clr>
        </p15:guide>
        <p15:guide id="4" pos="5046">
          <p15:clr>
            <a:srgbClr val="FBAE40"/>
          </p15:clr>
        </p15:guide>
        <p15:guide id="5" pos="5154">
          <p15:clr>
            <a:srgbClr val="FBAE40"/>
          </p15:clr>
        </p15:guide>
        <p15:guide id="8" orient="horz" pos="2220">
          <p15:clr>
            <a:srgbClr val="FBAE40"/>
          </p15:clr>
        </p15:guide>
        <p15:guide id="9" orient="horz" pos="232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1725" y="542925"/>
            <a:ext cx="5825475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80000" y="540000"/>
            <a:ext cx="5832474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2400" y="3703724"/>
            <a:ext cx="58248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7B8610-96BF-44A1-8981-5B8168BF2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17CAAC6-B83C-4A9E-ACBC-601ED50C9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18652A7-B0F6-428C-9C31-0A03897B9ECA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1A3038D-0D73-41B2-B289-D954169673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030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2220">
          <p15:clr>
            <a:srgbClr val="FBAE40"/>
          </p15:clr>
        </p15:guide>
        <p15:guide id="3" orient="horz" pos="2328">
          <p15:clr>
            <a:srgbClr val="FBAE40"/>
          </p15:clr>
        </p15:guide>
        <p15:guide id="5" pos="3786">
          <p15:clr>
            <a:srgbClr val="FBAE40"/>
          </p15:clr>
        </p15:guide>
        <p15:guide id="6" pos="389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79400" y="540000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8F072AD8-6DAB-4FE3-8463-A9CB6100F7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9400" y="530225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0AE5-9CCC-4EB2-B8D2-4AD89CD5CF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3464D53-8F88-47CD-A26E-22D07D11F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301334B-B605-4392-AC5F-7DA43D2F691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24513CA-6205-41D3-93B8-757A847A2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287831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3786">
          <p15:clr>
            <a:srgbClr val="FBAE40"/>
          </p15:clr>
        </p15:guide>
        <p15:guide id="3" pos="389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5175B383-099C-41CE-B5AA-384B4E10B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0" y="3157537"/>
            <a:ext cx="2286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972929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EBEFB137-2B54-42AD-BDAD-96813FC80F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4184" y="3989025"/>
            <a:ext cx="675352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7" name="Rubrik 6">
            <a:extLst>
              <a:ext uri="{FF2B5EF4-FFF2-40B4-BE49-F238E27FC236}">
                <a16:creationId xmlns:a16="http://schemas.microsoft.com/office/drawing/2014/main" id="{B0B4E0FE-DC57-4515-B085-17792707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183" y="2385733"/>
            <a:ext cx="6753526" cy="1325563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A347D7B1-083D-49CC-A712-18CCC9C1E3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73" y="585050"/>
            <a:ext cx="2172312" cy="110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00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with Imag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C55784-3769-281C-808B-B56CFC4BA34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1090" y="1292226"/>
            <a:ext cx="5835648" cy="536892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2"/>
            <a:ext cx="5824538" cy="4262437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141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9DC9A-405D-2BD5-A75B-0ACC7044B2B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89038" y="1164192"/>
            <a:ext cx="5830887" cy="2191783"/>
          </a:xfrm>
        </p:spPr>
        <p:txBody>
          <a:bodyPr anchor="t" anchorCtr="0">
            <a:noAutofit/>
          </a:bodyPr>
          <a:lstStyle>
            <a:lvl1pPr>
              <a:defRPr sz="4000" spc="-5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F7EE6A-B541-3D4F-34B1-8F4C8DE9966E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7161212" y="1152526"/>
            <a:ext cx="4835526" cy="2203450"/>
          </a:xfrm>
        </p:spPr>
        <p:txBody>
          <a:bodyPr tIns="93600"/>
          <a:lstStyle>
            <a:lvl1pPr marL="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C98940-A911-D289-ACE5-D7D7EA0734DD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15A74A-B1B2-7DF6-2A75-5F00971361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D74F1-F37E-469E-EB95-54C2267ED7B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5C29A2-5AB4-E01D-E895-1DC43038A8BA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193675" y="1152569"/>
            <a:ext cx="118030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B6C91B6-A3B4-179E-37E3-44EDF1AB0CD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93675" y="1164192"/>
            <a:ext cx="852488" cy="1090057"/>
          </a:xfrm>
        </p:spPr>
        <p:txBody>
          <a:bodyPr/>
          <a:lstStyle>
            <a:lvl1pPr marL="0" indent="0">
              <a:buFontTx/>
              <a:buNone/>
              <a:defRPr sz="4000" spc="-50" baseline="0">
                <a:latin typeface="+mj-lt"/>
              </a:defRPr>
            </a:lvl1pPr>
            <a:lvl2pPr marL="180000" indent="0">
              <a:buFontTx/>
              <a:buNone/>
              <a:defRPr sz="4000">
                <a:latin typeface="+mj-lt"/>
              </a:defRPr>
            </a:lvl2pPr>
            <a:lvl3pPr marL="356400" indent="0">
              <a:buFontTx/>
              <a:buNone/>
              <a:defRPr sz="4000">
                <a:latin typeface="+mj-lt"/>
              </a:defRPr>
            </a:lvl3pPr>
            <a:lvl4pPr marL="356400" indent="0">
              <a:buFontTx/>
              <a:buNone/>
              <a:defRPr sz="4000">
                <a:latin typeface="+mj-lt"/>
              </a:defRPr>
            </a:lvl4pPr>
            <a:lvl5pPr marL="356400" indent="0">
              <a:buFontTx/>
              <a:buNone/>
              <a:defRPr sz="4000">
                <a:latin typeface="+mj-lt"/>
              </a:defRPr>
            </a:lvl5pPr>
          </a:lstStyle>
          <a:p>
            <a:pPr lvl="0"/>
            <a:r>
              <a:rPr lang="en-GB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135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tags" Target="../tags/tag3.xml"/><Relationship Id="rId68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ags" Target="../tags/tag62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12.sv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CFAC089-C775-C92C-77F7-C78421019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436203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25" imgH="424" progId="TCLayout.ActiveDocument.1">
                  <p:embed/>
                </p:oleObj>
              </mc:Choice>
              <mc:Fallback>
                <p:oleObj name="think-cell Slide" r:id="rId6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2ED5-7C00-C074-7DAC-AF5A70E47A3E}"/>
              </a:ext>
            </a:extLst>
          </p:cNvPr>
          <p:cNvSpPr>
            <a:spLocks noGrp="1"/>
          </p:cNvSpPr>
          <p:nvPr>
            <p:ph type="title"/>
            <p:custDataLst>
              <p:tags r:id="rId63"/>
            </p:custDataLst>
          </p:nvPr>
        </p:nvSpPr>
        <p:spPr>
          <a:xfrm>
            <a:off x="193676" y="1152525"/>
            <a:ext cx="7821612" cy="1101725"/>
          </a:xfrm>
          <a:prstGeom prst="rect">
            <a:avLst/>
          </a:prstGeom>
        </p:spPr>
        <p:txBody>
          <a:bodyPr vert="horz" lIns="0" tIns="792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EE6AB-CE72-1410-1BF6-641F12FA62DD}"/>
              </a:ext>
            </a:extLst>
          </p:cNvPr>
          <p:cNvSpPr>
            <a:spLocks noGrp="1"/>
          </p:cNvSpPr>
          <p:nvPr>
            <p:ph type="body" idx="1"/>
            <p:custDataLst>
              <p:tags r:id="rId64"/>
            </p:custDataLst>
          </p:nvPr>
        </p:nvSpPr>
        <p:spPr>
          <a:xfrm>
            <a:off x="193676" y="2398713"/>
            <a:ext cx="10807700" cy="3306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333A99-0BB5-5144-E36B-09C9ED8685E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5"/>
            </p:custDataLst>
          </p:nvPr>
        </p:nvSpPr>
        <p:spPr>
          <a:xfrm>
            <a:off x="10148886" y="6661150"/>
            <a:ext cx="852488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26C413-5FE4-0AB9-E9B6-3EDDB5F7D85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6"/>
            </p:custDataLst>
          </p:nvPr>
        </p:nvSpPr>
        <p:spPr>
          <a:xfrm>
            <a:off x="6165850" y="6661150"/>
            <a:ext cx="3840160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en-GB" sz="600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15DAF8-D6A8-CA84-8374-B26DB93099A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7"/>
            </p:custDataLst>
          </p:nvPr>
        </p:nvSpPr>
        <p:spPr>
          <a:xfrm>
            <a:off x="11144250" y="6661150"/>
            <a:ext cx="852488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687EC968-8469-EC5D-7515-52C7D4F8F945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black">
          <a:xfrm>
            <a:off x="193676" y="196850"/>
            <a:ext cx="854075" cy="200174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73D1FB-11D1-D3EF-EA62-DF3B7B21E14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265703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63" r:id="rId2"/>
    <p:sldLayoutId id="2147483649" r:id="rId3"/>
    <p:sldLayoutId id="2147483660" r:id="rId4"/>
    <p:sldLayoutId id="2147483661" r:id="rId5"/>
    <p:sldLayoutId id="2147483664" r:id="rId6"/>
    <p:sldLayoutId id="2147483665" r:id="rId7"/>
    <p:sldLayoutId id="2147483666" r:id="rId8"/>
    <p:sldLayoutId id="2147483651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5" r:id="rId38"/>
    <p:sldLayoutId id="2147483654" r:id="rId39"/>
    <p:sldLayoutId id="2147483696" r:id="rId40"/>
    <p:sldLayoutId id="2147483697" r:id="rId41"/>
    <p:sldLayoutId id="2147483698" r:id="rId42"/>
    <p:sldLayoutId id="2147483699" r:id="rId43"/>
    <p:sldLayoutId id="2147483703" r:id="rId44"/>
    <p:sldLayoutId id="2147483700" r:id="rId45"/>
    <p:sldLayoutId id="2147483701" r:id="rId46"/>
    <p:sldLayoutId id="2147483702" r:id="rId47"/>
    <p:sldLayoutId id="2147483715" r:id="rId48"/>
    <p:sldLayoutId id="2147483716" r:id="rId49"/>
    <p:sldLayoutId id="2147483704" r:id="rId50"/>
    <p:sldLayoutId id="2147483705" r:id="rId51"/>
    <p:sldLayoutId id="2147483706" r:id="rId52"/>
    <p:sldLayoutId id="2147483707" r:id="rId53"/>
    <p:sldLayoutId id="2147483708" r:id="rId54"/>
    <p:sldLayoutId id="2147483709" r:id="rId55"/>
    <p:sldLayoutId id="2147483710" r:id="rId56"/>
    <p:sldLayoutId id="2147483711" r:id="rId57"/>
    <p:sldLayoutId id="2147483712" r:id="rId58"/>
    <p:sldLayoutId id="2147483713" r:id="rId59"/>
    <p:sldLayoutId id="2147483714" r:id="rId6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6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3564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356400" indent="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None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 userDrawn="1">
          <p15:clr>
            <a:srgbClr val="F26B43"/>
          </p15:clr>
        </p15:guide>
        <p15:guide id="2" orient="horz" pos="726" userDrawn="1">
          <p15:clr>
            <a:srgbClr val="F26B43"/>
          </p15:clr>
        </p15:guide>
        <p15:guide id="3" pos="122" userDrawn="1">
          <p15:clr>
            <a:srgbClr val="F26B43"/>
          </p15:clr>
        </p15:guide>
        <p15:guide id="4" pos="659" userDrawn="1">
          <p15:clr>
            <a:srgbClr val="F26B43"/>
          </p15:clr>
        </p15:guide>
        <p15:guide id="5" pos="749" userDrawn="1">
          <p15:clr>
            <a:srgbClr val="F26B43"/>
          </p15:clr>
        </p15:guide>
        <p15:guide id="6" pos="1286" userDrawn="1">
          <p15:clr>
            <a:srgbClr val="F26B43"/>
          </p15:clr>
        </p15:guide>
        <p15:guide id="7" pos="1376" userDrawn="1">
          <p15:clr>
            <a:srgbClr val="F26B43"/>
          </p15:clr>
        </p15:guide>
        <p15:guide id="8" pos="1913" userDrawn="1">
          <p15:clr>
            <a:srgbClr val="F26B43"/>
          </p15:clr>
        </p15:guide>
        <p15:guide id="9" pos="2003" userDrawn="1">
          <p15:clr>
            <a:srgbClr val="F26B43"/>
          </p15:clr>
        </p15:guide>
        <p15:guide id="10" pos="2540" userDrawn="1">
          <p15:clr>
            <a:srgbClr val="F26B43"/>
          </p15:clr>
        </p15:guide>
        <p15:guide id="11" pos="2630" userDrawn="1">
          <p15:clr>
            <a:srgbClr val="F26B43"/>
          </p15:clr>
        </p15:guide>
        <p15:guide id="12" pos="3168" userDrawn="1">
          <p15:clr>
            <a:srgbClr val="F26B43"/>
          </p15:clr>
        </p15:guide>
        <p15:guide id="13" pos="3257" userDrawn="1">
          <p15:clr>
            <a:srgbClr val="F26B43"/>
          </p15:clr>
        </p15:guide>
        <p15:guide id="14" pos="3795" userDrawn="1">
          <p15:clr>
            <a:srgbClr val="F26B43"/>
          </p15:clr>
        </p15:guide>
        <p15:guide id="15" pos="3884" userDrawn="1">
          <p15:clr>
            <a:srgbClr val="F26B43"/>
          </p15:clr>
        </p15:guide>
        <p15:guide id="16" pos="4422" userDrawn="1">
          <p15:clr>
            <a:srgbClr val="F26B43"/>
          </p15:clr>
        </p15:guide>
        <p15:guide id="17" pos="4511" userDrawn="1">
          <p15:clr>
            <a:srgbClr val="F26B43"/>
          </p15:clr>
        </p15:guide>
        <p15:guide id="18" pos="5049" userDrawn="1">
          <p15:clr>
            <a:srgbClr val="F26B43"/>
          </p15:clr>
        </p15:guide>
        <p15:guide id="19" pos="5139" userDrawn="1">
          <p15:clr>
            <a:srgbClr val="F26B43"/>
          </p15:clr>
        </p15:guide>
        <p15:guide id="20" pos="5676" userDrawn="1">
          <p15:clr>
            <a:srgbClr val="F26B43"/>
          </p15:clr>
        </p15:guide>
        <p15:guide id="21" pos="5766" userDrawn="1">
          <p15:clr>
            <a:srgbClr val="F26B43"/>
          </p15:clr>
        </p15:guide>
        <p15:guide id="22" pos="6303" userDrawn="1">
          <p15:clr>
            <a:srgbClr val="F26B43"/>
          </p15:clr>
        </p15:guide>
        <p15:guide id="23" pos="6393" userDrawn="1">
          <p15:clr>
            <a:srgbClr val="F26B43"/>
          </p15:clr>
        </p15:guide>
        <p15:guide id="24" pos="6930" userDrawn="1">
          <p15:clr>
            <a:srgbClr val="F26B43"/>
          </p15:clr>
        </p15:guide>
        <p15:guide id="25" pos="7020" userDrawn="1">
          <p15:clr>
            <a:srgbClr val="F26B43"/>
          </p15:clr>
        </p15:guide>
        <p15:guide id="26" pos="7557" userDrawn="1">
          <p15:clr>
            <a:srgbClr val="F26B43"/>
          </p15:clr>
        </p15:guide>
        <p15:guide id="27" orient="horz" pos="817" userDrawn="1">
          <p15:clr>
            <a:srgbClr val="F26B43"/>
          </p15:clr>
        </p15:guide>
        <p15:guide id="28" orient="horz" pos="1420" userDrawn="1">
          <p15:clr>
            <a:srgbClr val="F26B43"/>
          </p15:clr>
        </p15:guide>
        <p15:guide id="29" orient="horz" pos="1511" userDrawn="1">
          <p15:clr>
            <a:srgbClr val="F26B43"/>
          </p15:clr>
        </p15:guide>
        <p15:guide id="30" orient="horz" pos="2114" userDrawn="1">
          <p15:clr>
            <a:srgbClr val="F26B43"/>
          </p15:clr>
        </p15:guide>
        <p15:guide id="31" orient="horz" pos="2205" userDrawn="1">
          <p15:clr>
            <a:srgbClr val="F26B43"/>
          </p15:clr>
        </p15:guide>
        <p15:guide id="32" orient="horz" pos="2808" userDrawn="1">
          <p15:clr>
            <a:srgbClr val="F26B43"/>
          </p15:clr>
        </p15:guide>
        <p15:guide id="33" orient="horz" pos="2899" userDrawn="1">
          <p15:clr>
            <a:srgbClr val="F26B43"/>
          </p15:clr>
        </p15:guide>
        <p15:guide id="34" orient="horz" pos="3502" userDrawn="1">
          <p15:clr>
            <a:srgbClr val="F26B43"/>
          </p15:clr>
        </p15:guide>
        <p15:guide id="35" orient="horz" pos="3593" userDrawn="1">
          <p15:clr>
            <a:srgbClr val="F26B43"/>
          </p15:clr>
        </p15:guide>
        <p15:guide id="36" orient="horz" pos="41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18B117-0B8E-3C05-24CA-66969151A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699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18B117-0B8E-3C05-24CA-66969151A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4">
            <a:extLst>
              <a:ext uri="{FF2B5EF4-FFF2-40B4-BE49-F238E27FC236}">
                <a16:creationId xmlns:a16="http://schemas.microsoft.com/office/drawing/2014/main" id="{B4E9A893-6AF0-4B8C-9D2D-BBCD0F3AC5D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49025" y="0"/>
            <a:ext cx="942975" cy="542925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BDB4792-2DD8-4659-BDA3-DA8F6094E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800" y="540000"/>
            <a:ext cx="7394400" cy="18034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and add 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6CC0AFF-0D9F-484D-A1E5-C49776BC9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01DABA3-3313-4B89-B1A7-054633806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BF850E8-5C79-47A6-BF51-E088C95CC521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9CD4A9-CDF3-4DD4-BB68-8566C9E3C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51B1-BFD1-4AE9-8EFA-49D9BD1CEB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600" y="2520000"/>
            <a:ext cx="7394400" cy="41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247FFB-F130-D4AF-F9D3-A3D2AA3330F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109157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ransition spd="slow">
    <p:push dir="u"/>
  </p:transition>
  <p:hf sldNum="0"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lang="en-GB"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23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423" rtl="0" eaLnBrk="1" latinLnBrk="0" hangingPunct="1">
        <a:lnSpc>
          <a:spcPct val="90000"/>
        </a:lnSpc>
        <a:spcBef>
          <a:spcPts val="900"/>
        </a:spcBef>
        <a:buSzPct val="90000"/>
        <a:buFont typeface="Calibri Light" panose="020F0302020204030204" pitchFamily="34" charset="0"/>
        <a:buChar char="•"/>
        <a:tabLst>
          <a:tab pos="342000" algn="l"/>
        </a:tabLst>
        <a:defRPr lang="en-US" sz="24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684000" indent="-342000" algn="l" defTabSz="914423" rtl="0" eaLnBrk="1" latinLnBrk="0" hangingPunct="1">
        <a:lnSpc>
          <a:spcPct val="90000"/>
        </a:lnSpc>
        <a:spcBef>
          <a:spcPts val="400"/>
        </a:spcBef>
        <a:buFont typeface="Calibri Light" panose="020F0302020204030204" pitchFamily="34" charset="0"/>
        <a:buChar char="–"/>
        <a:tabLst>
          <a:tab pos="684000" algn="l"/>
        </a:tabLst>
        <a:defRPr lang="en-US" sz="20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26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026000" algn="l"/>
        </a:tabLst>
        <a:defRPr lang="en-US" sz="18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368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368000" algn="l"/>
        </a:tabLst>
        <a:defRPr lang="en-GB" sz="16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4">
          <p15:clr>
            <a:srgbClr val="F26B43"/>
          </p15:clr>
        </p15:guide>
        <p15:guide id="2" orient="horz" pos="4206">
          <p15:clr>
            <a:srgbClr val="F26B43"/>
          </p15:clr>
        </p15:guide>
        <p15:guide id="3" pos="112">
          <p15:clr>
            <a:srgbClr val="F26B43"/>
          </p15:clr>
        </p15:guide>
        <p15:guide id="4" pos="75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39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474C8D-DF2C-410F-1562-1BE4A77A5A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09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474C8D-DF2C-410F-1562-1BE4A77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FAFC99-706E-6FAD-44B3-B80139B4C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4859" y="305756"/>
            <a:ext cx="7399338" cy="466602"/>
          </a:xfrm>
        </p:spPr>
        <p:txBody>
          <a:bodyPr vert="horz"/>
          <a:lstStyle/>
          <a:p>
            <a:r>
              <a:rPr lang="sv-SE" dirty="0"/>
              <a:t>Spelarkonto status September 20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A6BC4E-6A25-42FD-D363-D4DF4427B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4459" y="1134071"/>
            <a:ext cx="10305311" cy="507517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6D43E07-FACB-E283-7242-7BF9009346F2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</p:spTree>
    <p:extLst>
      <p:ext uri="{BB962C8B-B14F-4D97-AF65-F5344CB8AC3E}">
        <p14:creationId xmlns:p14="http://schemas.microsoft.com/office/powerpoint/2010/main" val="415280942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_DEF" val="2057"/>
  <p:tag name="LANG_NAME" val="English UK"/>
  <p:tag name="MASTCOUNT" val="1"/>
  <p:tag name="DES1LAYOUTCOUNT" val="60"/>
  <p:tag name="LINGO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SKF Templat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0" tIns="0" rIns="0" bIns="0" rtlCol="0" anchor="ctr"/>
      <a:lstStyle>
        <a:defPPr algn="ctr">
          <a:lnSpc>
            <a:spcPct val="107000"/>
          </a:lnSpc>
          <a:spcBef>
            <a:spcPts val="1200"/>
          </a:spcBef>
          <a:defRPr sz="1600" spc="-20"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7000"/>
          </a:lnSpc>
          <a:spcBef>
            <a:spcPts val="1200"/>
          </a:spcBef>
          <a:defRPr sz="1600" spc="-20" dirty="0" smtClean="0"/>
        </a:defPPr>
      </a:lstStyle>
    </a:txDef>
  </a:objectDefaults>
  <a:extraClrSchemeLst/>
  <a:custClrLst>
    <a:custClr name="SKF Blue">
      <a:srgbClr val="0000FE"/>
    </a:custClr>
    <a:custClr name="Dark Blue">
      <a:srgbClr val="02115C"/>
    </a:custClr>
    <a:custClr name="Black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80% Black">
      <a:srgbClr val="333333"/>
    </a:custClr>
    <a:custClr name="70% Black">
      <a:srgbClr val="4C4C4C"/>
    </a:custClr>
    <a:custClr name="60% Black">
      <a:srgbClr val="666666"/>
    </a:custClr>
    <a:custClr name="50% Black">
      <a:srgbClr val="7F7F7F"/>
    </a:custClr>
    <a:custClr name="42% Black">
      <a:srgbClr val="949494"/>
    </a:custClr>
    <a:custClr name="30% Black">
      <a:srgbClr val="B2B2B2"/>
    </a:custClr>
    <a:custClr name="20% Black">
      <a:srgbClr val="CCCCCC"/>
    </a:custClr>
    <a:custClr name="10% Black">
      <a:srgbClr val="E5E5E5"/>
    </a:custClr>
    <a:custClr name="7% Black">
      <a:srgbClr val="EDEDED"/>
    </a:custClr>
    <a:custClr name="4% Black">
      <a:srgbClr val="F5F5F5"/>
    </a:custClr>
    <a:custClr name="Orange">
      <a:srgbClr val="F86516"/>
    </a:custClr>
    <a:custClr name="Yellow">
      <a:srgbClr val="FFD601"/>
    </a:custClr>
    <a:custClr name="Pink">
      <a:srgbClr val="F857AF"/>
    </a:custClr>
    <a:custClr name="Green">
      <a:srgbClr val="009E2D"/>
    </a:custClr>
    <a:custClr name="Purple">
      <a:srgbClr val="9570EB"/>
    </a:custClr>
    <a:custClr name="Red">
      <a:srgbClr val="F93434"/>
    </a:custClr>
    <a:custClr name="Turquoise">
      <a:srgbClr val="3C99AE"/>
    </a:custClr>
    <a:custClr name="BLANK">
      <a:srgbClr val="FFFFFF"/>
    </a:custClr>
    <a:custClr name="BLANK">
      <a:srgbClr val="FFFFFF"/>
    </a:custClr>
    <a:custClr name="BLANK">
      <a:srgbClr val="FFFFFF"/>
    </a:custClr>
    <a:custClr name="Dark Orange">
      <a:srgbClr val="9C3600"/>
    </a:custClr>
    <a:custClr name="Dark Yellow">
      <a:srgbClr val="7A6C00"/>
    </a:custClr>
    <a:custClr name="Dark Pink">
      <a:srgbClr val="98105A"/>
    </a:custClr>
    <a:custClr name="Dark Green">
      <a:srgbClr val="00611B"/>
    </a:custClr>
    <a:custClr name="Dark Purple">
      <a:srgbClr val="4C0E9B"/>
    </a:custClr>
    <a:custClr name="Dark Red">
      <a:srgbClr val="930606"/>
    </a:custClr>
    <a:custClr name="Dark Turquoise">
      <a:srgbClr val="276770"/>
    </a:custClr>
    <a:custClr name="BLANK">
      <a:srgbClr val="FFFFFF"/>
    </a:custClr>
    <a:custClr name="BLANK">
      <a:srgbClr val="FFFFFF"/>
    </a:custClr>
    <a:custClr name="BLANK">
      <a:srgbClr val="FFFFFF"/>
    </a:custClr>
    <a:custClr name="25% Orange Tint">
      <a:srgbClr val="FDD8C5"/>
    </a:custClr>
    <a:custClr name="25% Yellow Tint">
      <a:srgbClr val="FDF6BF"/>
    </a:custClr>
    <a:custClr name="25% Pink Tint">
      <a:srgbClr val="FDD5E9"/>
    </a:custClr>
    <a:custClr name="25% Green Tint">
      <a:srgbClr val="BFE7CA"/>
    </a:custClr>
    <a:custClr name="25% Purple Tint">
      <a:srgbClr val="E8D6FF"/>
    </a:custClr>
    <a:custClr name="25% Red Tint">
      <a:srgbClr val="FDCCCC"/>
    </a:custClr>
    <a:custClr name="25% Turquiose Tint">
      <a:srgbClr val="D9F2F0"/>
    </a:custClr>
    <a:custClr name="25% Blue Tint">
      <a:srgbClr val="CCDCFF"/>
    </a:custClr>
  </a:custClrLst>
  <a:extLst>
    <a:ext uri="{05A4C25C-085E-4340-85A3-A5531E510DB2}">
      <thm15:themeFamily xmlns:thm15="http://schemas.microsoft.com/office/thememl/2012/main" name="F_SKF_Template" id="{8DFABC6B-F1B6-439B-BC21-7B99A86DE1EB}" vid="{07AF309A-602C-41C5-BBEF-3BAE6B7A288E}"/>
    </a:ext>
  </a:extLst>
</a:theme>
</file>

<file path=ppt/theme/theme2.xml><?xml version="1.0" encoding="utf-8"?>
<a:theme xmlns:a="http://schemas.openxmlformats.org/drawingml/2006/main" name="SKF 2020">
  <a:themeElements>
    <a:clrScheme name="SKF 2020">
      <a:dk1>
        <a:sysClr val="windowText" lastClr="000000"/>
      </a:dk1>
      <a:lt1>
        <a:sysClr val="window" lastClr="FFFFFF"/>
      </a:lt1>
      <a:dk2>
        <a:srgbClr val="5F5F64"/>
      </a:dk2>
      <a:lt2>
        <a:srgbClr val="EBF0F0"/>
      </a:lt2>
      <a:accent1>
        <a:srgbClr val="264357"/>
      </a:accent1>
      <a:accent2>
        <a:srgbClr val="94ABA6"/>
      </a:accent2>
      <a:accent3>
        <a:srgbClr val="485A64"/>
      </a:accent3>
      <a:accent4>
        <a:srgbClr val="B2A799"/>
      </a:accent4>
      <a:accent5>
        <a:srgbClr val="0F58D6"/>
      </a:accent5>
      <a:accent6>
        <a:srgbClr val="46962B"/>
      </a:accent6>
      <a:hlink>
        <a:srgbClr val="0F58D6"/>
      </a:hlink>
      <a:folHlink>
        <a:srgbClr val="781E93"/>
      </a:folHlink>
    </a:clrScheme>
    <a:fontScheme name="SKF Calibri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8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KF PPT 2020.potx" id="{A44EF65F-37CF-4CB5-8426-D73A0B38DDF4}" vid="{D8D5E66A-D129-4503-A63B-E120812E1122}"/>
    </a:ext>
  </a:extLst>
</a:theme>
</file>

<file path=ppt/theme/theme3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467886"/>
      </a:hlink>
      <a:folHlink>
        <a:srgbClr val="96607D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46CD667E4335448EA6A36CBD3C9AAF" ma:contentTypeVersion="17" ma:contentTypeDescription="Create a new document." ma:contentTypeScope="" ma:versionID="2c88f31b4781b2776a8c7376bb172f59">
  <xsd:schema xmlns:xsd="http://www.w3.org/2001/XMLSchema" xmlns:xs="http://www.w3.org/2001/XMLSchema" xmlns:p="http://schemas.microsoft.com/office/2006/metadata/properties" xmlns:ns1="http://schemas.microsoft.com/sharepoint/v3" xmlns:ns2="27d747df-3ae7-4b39-bdf4-d2386b3c474f" xmlns:ns3="dbfdf458-13d0-4d8f-b0d9-aea8cb9822af" targetNamespace="http://schemas.microsoft.com/office/2006/metadata/properties" ma:root="true" ma:fieldsID="eede093df0dc0c9484f6ba8f2d3376c9" ns1:_="" ns2:_="" ns3:_="">
    <xsd:import namespace="http://schemas.microsoft.com/sharepoint/v3"/>
    <xsd:import namespace="27d747df-3ae7-4b39-bdf4-d2386b3c474f"/>
    <xsd:import namespace="dbfdf458-13d0-4d8f-b0d9-aea8cb9822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d747df-3ae7-4b39-bdf4-d2386b3c4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10430cd-861b-4a84-98ab-de752442a0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df458-13d0-4d8f-b0d9-aea8cb9822a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3962bcb-60cd-4eb4-b8cb-674a46fde384}" ma:internalName="TaxCatchAll" ma:showField="CatchAllData" ma:web="dbfdf458-13d0-4d8f-b0d9-aea8cb9822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7d747df-3ae7-4b39-bdf4-d2386b3c474f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  <TaxCatchAll xmlns="dbfdf458-13d0-4d8f-b0d9-aea8cb9822af" xsi:nil="true"/>
  </documentManagement>
</p:properties>
</file>

<file path=customXml/itemProps1.xml><?xml version="1.0" encoding="utf-8"?>
<ds:datastoreItem xmlns:ds="http://schemas.openxmlformats.org/officeDocument/2006/customXml" ds:itemID="{DCFD0C47-3DB1-4F6C-B64B-13C53C9298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5E923A-6E1E-4F30-8811-17EEB7CD73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7d747df-3ae7-4b39-bdf4-d2386b3c474f"/>
    <ds:schemaRef ds:uri="dbfdf458-13d0-4d8f-b0d9-aea8cb9822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35D98A-4E20-45EB-A93F-5B227E9C2F9F}">
  <ds:schemaRefs>
    <ds:schemaRef ds:uri="http://schemas.microsoft.com/office/2006/metadata/properties"/>
    <ds:schemaRef ds:uri="http://schemas.microsoft.com/office/infopath/2007/PartnerControls"/>
    <ds:schemaRef ds:uri="7ff0a519-25fc-4f8f-8aa2-e28558e40983"/>
    <ds:schemaRef ds:uri="27d747df-3ae7-4b39-bdf4-d2386b3c474f"/>
    <ds:schemaRef ds:uri="http://schemas.microsoft.com/sharepoint/v3"/>
    <ds:schemaRef ds:uri="dbfdf458-13d0-4d8f-b0d9-aea8cb9822af"/>
  </ds:schemaRefs>
</ds:datastoreItem>
</file>

<file path=docMetadata/LabelInfo.xml><?xml version="1.0" encoding="utf-8"?>
<clbl:labelList xmlns:clbl="http://schemas.microsoft.com/office/2020/mipLabelMetadata">
  <clbl:label id="{4ede1376-eff3-448c-a8a5-f3e79c769ae3}" enabled="1" method="Standard" siteId="{41875f2b-33e8-4670-92a8-f643afbb243a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SKF Sans Office Medium</vt:lpstr>
      <vt:lpstr>Calibri Light</vt:lpstr>
      <vt:lpstr>SKF Sans Office</vt:lpstr>
      <vt:lpstr>Calibri</vt:lpstr>
      <vt:lpstr>Arial</vt:lpstr>
      <vt:lpstr>SKF Template</vt:lpstr>
      <vt:lpstr>SKF 2020</vt:lpstr>
      <vt:lpstr>think-cell Slide</vt:lpstr>
      <vt:lpstr>Spelarkonto status September 2025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ter R Johansson</dc:creator>
  <cp:lastModifiedBy>Peter R Johansson</cp:lastModifiedBy>
  <cp:revision>1</cp:revision>
  <dcterms:created xsi:type="dcterms:W3CDTF">2025-09-19T19:27:17Z</dcterms:created>
  <dcterms:modified xsi:type="dcterms:W3CDTF">2025-09-19T19:2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46CD667E4335448EA6A36CBD3C9AAF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SKF Template:11\SKF 2020:7</vt:lpwstr>
  </property>
  <property fmtid="{D5CDD505-2E9C-101B-9397-08002B2CF9AE}" pid="5" name="ClassificationContentMarkingFooterText">
    <vt:lpwstr>Confidentiality: C2 – Internal </vt:lpwstr>
  </property>
</Properties>
</file>